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4" r:id="rId5"/>
    <p:sldMasterId id="2147483680" r:id="rId6"/>
  </p:sldMasterIdLst>
  <p:notesMasterIdLst>
    <p:notesMasterId r:id="rId11"/>
  </p:notesMasterIdLst>
  <p:sldIdLst>
    <p:sldId id="391" r:id="rId7"/>
    <p:sldId id="403" r:id="rId8"/>
    <p:sldId id="390" r:id="rId9"/>
    <p:sldId id="392" r:id="rId10"/>
  </p:sldIdLst>
  <p:sldSz cx="12192000" cy="6858000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ilsen, Sander" initials="NS" lastIdx="1" clrIdx="0">
    <p:extLst>
      <p:ext uri="{19B8F6BF-5375-455C-9EA6-DF929625EA0E}">
        <p15:presenceInfo xmlns:p15="http://schemas.microsoft.com/office/powerpoint/2012/main" userId="S-1-5-21-56455837-1736116455-1256410061-305057" providerId="AD"/>
      </p:ext>
    </p:extLst>
  </p:cmAuthor>
  <p:cmAuthor id="2" name="Jore, Jean christophe" initials="JJc" lastIdx="0" clrIdx="1">
    <p:extLst>
      <p:ext uri="{19B8F6BF-5375-455C-9EA6-DF929625EA0E}">
        <p15:presenceInfo xmlns:p15="http://schemas.microsoft.com/office/powerpoint/2012/main" userId="S-1-5-21-56455837-1736116455-1256410061-24652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EE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57BAD07-EAF5-48E5-9E35-AC95C220CCDC}" v="3" dt="2025-02-25T18:06:33.70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 showGuides="1">
      <p:cViewPr varScale="1">
        <p:scale>
          <a:sx n="78" d="100"/>
          <a:sy n="78" d="100"/>
        </p:scale>
        <p:origin x="1899" y="55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commentAuthors" Target="commentAuthors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slide" Target="slides/slide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affreau, Philippe" userId="f28529a0-9877-44df-9b18-a8bca375fda2" providerId="ADAL" clId="{657BAD07-EAF5-48E5-9E35-AC95C220CCDC}"/>
    <pc:docChg chg="modSld">
      <pc:chgData name="Baffreau, Philippe" userId="f28529a0-9877-44df-9b18-a8bca375fda2" providerId="ADAL" clId="{657BAD07-EAF5-48E5-9E35-AC95C220CCDC}" dt="2025-02-25T18:06:44.219" v="6" actId="27107"/>
      <pc:docMkLst>
        <pc:docMk/>
      </pc:docMkLst>
      <pc:sldChg chg="modSp mod">
        <pc:chgData name="Baffreau, Philippe" userId="f28529a0-9877-44df-9b18-a8bca375fda2" providerId="ADAL" clId="{657BAD07-EAF5-48E5-9E35-AC95C220CCDC}" dt="2025-02-25T18:05:55.804" v="2" actId="20577"/>
        <pc:sldMkLst>
          <pc:docMk/>
          <pc:sldMk cId="2212283779" sldId="390"/>
        </pc:sldMkLst>
        <pc:spChg chg="mod">
          <ac:chgData name="Baffreau, Philippe" userId="f28529a0-9877-44df-9b18-a8bca375fda2" providerId="ADAL" clId="{657BAD07-EAF5-48E5-9E35-AC95C220CCDC}" dt="2025-02-25T18:05:55.804" v="2" actId="20577"/>
          <ac:spMkLst>
            <pc:docMk/>
            <pc:sldMk cId="2212283779" sldId="390"/>
            <ac:spMk id="5" creationId="{AA973EE0-C866-9935-3F2E-DAAB9BDBB57A}"/>
          </ac:spMkLst>
        </pc:spChg>
      </pc:sldChg>
      <pc:sldChg chg="modSp mod">
        <pc:chgData name="Baffreau, Philippe" userId="f28529a0-9877-44df-9b18-a8bca375fda2" providerId="ADAL" clId="{657BAD07-EAF5-48E5-9E35-AC95C220CCDC}" dt="2025-02-25T18:06:07.969" v="5" actId="20577"/>
        <pc:sldMkLst>
          <pc:docMk/>
          <pc:sldMk cId="3410050689" sldId="392"/>
        </pc:sldMkLst>
        <pc:spChg chg="mod">
          <ac:chgData name="Baffreau, Philippe" userId="f28529a0-9877-44df-9b18-a8bca375fda2" providerId="ADAL" clId="{657BAD07-EAF5-48E5-9E35-AC95C220CCDC}" dt="2025-02-25T18:06:07.969" v="5" actId="20577"/>
          <ac:spMkLst>
            <pc:docMk/>
            <pc:sldMk cId="3410050689" sldId="392"/>
            <ac:spMk id="2" creationId="{E81B4D36-C0E3-21C6-0270-7289A582A488}"/>
          </ac:spMkLst>
        </pc:spChg>
      </pc:sldChg>
      <pc:sldChg chg="modSp mod">
        <pc:chgData name="Baffreau, Philippe" userId="f28529a0-9877-44df-9b18-a8bca375fda2" providerId="ADAL" clId="{657BAD07-EAF5-48E5-9E35-AC95C220CCDC}" dt="2025-02-25T18:06:44.219" v="6" actId="27107"/>
        <pc:sldMkLst>
          <pc:docMk/>
          <pc:sldMk cId="1158020570" sldId="403"/>
        </pc:sldMkLst>
        <pc:spChg chg="mod">
          <ac:chgData name="Baffreau, Philippe" userId="f28529a0-9877-44df-9b18-a8bca375fda2" providerId="ADAL" clId="{657BAD07-EAF5-48E5-9E35-AC95C220CCDC}" dt="2025-02-25T18:06:44.219" v="6" actId="27107"/>
          <ac:spMkLst>
            <pc:docMk/>
            <pc:sldMk cId="1158020570" sldId="403"/>
            <ac:spMk id="7" creationId="{96F06C60-07ED-DE85-BE48-34456D577BFA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CBCA6F8-3C87-43F1-88C3-A55183389660}" type="datetimeFigureOut">
              <a:rPr lang="en-US" smtClean="0"/>
              <a:t>2/2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602FE8-9CDD-4E38-8CFE-E809B5A412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19724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4D4039-80B7-4E77-A8ED-FA57C7F48EB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49538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4D4039-80B7-4E77-A8ED-FA57C7F48EB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84233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4D4039-80B7-4E77-A8ED-FA57C7F48EB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94391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4D4039-80B7-4E77-A8ED-FA57C7F48EB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28949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7.jpg"/><Relationship Id="rId4" Type="http://schemas.openxmlformats.org/officeDocument/2006/relationships/image" Target="../media/image16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7.jpg"/><Relationship Id="rId4" Type="http://schemas.openxmlformats.org/officeDocument/2006/relationships/image" Target="../media/image19.sv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Afbeelding 9" descr="Afbeelding met spel&#10;&#10;Automatisch gegenereerde beschrijving">
            <a:extLst>
              <a:ext uri="{FF2B5EF4-FFF2-40B4-BE49-F238E27FC236}">
                <a16:creationId xmlns:a16="http://schemas.microsoft.com/office/drawing/2014/main" id="{F2C57918-C794-5443-AD6A-6629916A5C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200" y="420299"/>
            <a:ext cx="11674799" cy="5583600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1219200" y="1170918"/>
            <a:ext cx="9652000" cy="4523764"/>
          </a:xfrm>
          <a:prstGeom prst="rect">
            <a:avLst/>
          </a:prstGeom>
        </p:spPr>
        <p:txBody>
          <a:bodyPr/>
          <a:lstStyle>
            <a:lvl1pPr marL="457189" indent="-457189">
              <a:buClr>
                <a:srgbClr val="F56E23"/>
              </a:buClr>
              <a:buFontTx/>
              <a:buBlip>
                <a:blip r:embed="rId3"/>
              </a:buBlip>
              <a:defRPr sz="2400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1pPr>
            <a:lvl2pPr marL="1066773" indent="-457189">
              <a:buClr>
                <a:srgbClr val="F56E23"/>
              </a:buClr>
              <a:buFont typeface="Arial" pitchFamily="34" charset="0"/>
              <a:buChar char="•"/>
              <a:defRPr sz="2133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2pPr>
            <a:lvl3pPr marL="1676358" indent="-457189">
              <a:buClr>
                <a:srgbClr val="F56E23"/>
              </a:buClr>
              <a:buFont typeface="Arial" pitchFamily="34" charset="0"/>
              <a:buChar char="•"/>
              <a:defRPr sz="2000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3pPr>
            <a:lvl4pPr marL="2285943" indent="-457189">
              <a:buClr>
                <a:srgbClr val="F56E23"/>
              </a:buClr>
              <a:buFont typeface="Arial" pitchFamily="34" charset="0"/>
              <a:buChar char="•"/>
              <a:defRPr sz="1867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4pPr>
            <a:lvl5pPr marL="2895528" indent="-457189">
              <a:buClr>
                <a:srgbClr val="F56E23"/>
              </a:buClr>
              <a:buFont typeface="Arial" pitchFamily="34" charset="0"/>
              <a:buChar char="•"/>
              <a:defRPr sz="1867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0" y="6812282"/>
            <a:ext cx="12192000" cy="45719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4" name="Slide Number Placeholder 8">
            <a:extLst>
              <a:ext uri="{FF2B5EF4-FFF2-40B4-BE49-F238E27FC236}">
                <a16:creationId xmlns:a16="http://schemas.microsoft.com/office/drawing/2014/main" id="{82E77D56-3161-E548-A787-ADE5E318DAE4}"/>
              </a:ext>
            </a:extLst>
          </p:cNvPr>
          <p:cNvSpPr txBox="1">
            <a:spLocks/>
          </p:cNvSpPr>
          <p:nvPr userDrawn="1"/>
        </p:nvSpPr>
        <p:spPr>
          <a:xfrm>
            <a:off x="11441076" y="6420597"/>
            <a:ext cx="593060" cy="213471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rgbClr val="F56E23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r">
              <a:defRPr/>
            </a:pPr>
            <a:fld id="{31C852F3-457B-4BE9-ABEB-ADBE99B21990}" type="slidenum">
              <a:rPr lang="en-US" sz="1200" smtClean="0">
                <a:solidFill>
                  <a:srgbClr val="646464"/>
                </a:solidFill>
              </a:rPr>
              <a:pPr algn="r">
                <a:defRPr/>
              </a:pPr>
              <a:t>‹#›</a:t>
            </a:fld>
            <a:endParaRPr lang="en-US" sz="1200" dirty="0">
              <a:solidFill>
                <a:srgbClr val="646464"/>
              </a:solidFill>
            </a:endParaRPr>
          </a:p>
        </p:txBody>
      </p:sp>
      <p:sp>
        <p:nvSpPr>
          <p:cNvPr id="17" name="Title 13">
            <a:extLst>
              <a:ext uri="{FF2B5EF4-FFF2-40B4-BE49-F238E27FC236}">
                <a16:creationId xmlns:a16="http://schemas.microsoft.com/office/drawing/2014/main" id="{09CA4599-68D3-8A46-8ACE-3E18679FFE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390" y="1769"/>
            <a:ext cx="7989904" cy="756112"/>
          </a:xfrm>
          <a:prstGeom prst="rect">
            <a:avLst/>
          </a:prstGeom>
        </p:spPr>
        <p:txBody>
          <a:bodyPr anchor="ctr" anchorCtr="0"/>
          <a:lstStyle>
            <a:lvl1pPr algn="l">
              <a:defRPr sz="2533" b="0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 subtitle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EA38EE0D-94DE-0E4B-85BD-4AAC32150798}"/>
              </a:ext>
            </a:extLst>
          </p:cNvPr>
          <p:cNvSpPr txBox="1"/>
          <p:nvPr userDrawn="1"/>
        </p:nvSpPr>
        <p:spPr>
          <a:xfrm>
            <a:off x="4302591" y="6429539"/>
            <a:ext cx="3701378" cy="400110"/>
          </a:xfrm>
          <a:prstGeom prst="rect">
            <a:avLst/>
          </a:prstGeom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1000" kern="1200" dirty="0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© SBM Offshore 2021. </a:t>
            </a:r>
            <a:r>
              <a:rPr lang="nl-NL" sz="1000" kern="1200" dirty="0" err="1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All</a:t>
            </a:r>
            <a:r>
              <a:rPr lang="nl-NL" sz="1000" kern="1200" dirty="0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000" kern="1200" dirty="0" err="1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rights</a:t>
            </a:r>
            <a:r>
              <a:rPr lang="nl-NL" sz="1000" kern="1200" dirty="0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000" kern="1200" dirty="0" err="1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reserved</a:t>
            </a:r>
            <a:r>
              <a:rPr lang="nl-NL" sz="1000" kern="1200" dirty="0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nl-NL" sz="1000" kern="1200" dirty="0" err="1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www.sbmoffshore.com</a:t>
            </a:r>
            <a:endParaRPr lang="nl-NL" sz="1000" kern="1200" dirty="0">
              <a:solidFill>
                <a:srgbClr val="646464"/>
              </a:solidFill>
              <a:effectLst/>
              <a:latin typeface="+mn-lt"/>
              <a:ea typeface="+mn-ea"/>
              <a:cs typeface="+mn-cs"/>
            </a:endParaRPr>
          </a:p>
          <a:p>
            <a:endParaRPr lang="nl-NL" sz="1000" dirty="0">
              <a:solidFill>
                <a:srgbClr val="646464"/>
              </a:solidFill>
            </a:endParaRPr>
          </a:p>
        </p:txBody>
      </p:sp>
      <p:pic>
        <p:nvPicPr>
          <p:cNvPr id="8" name="Afbeelding 7" descr="Afbeelding met tekening&#10;&#10;Automatisch gegenereerde beschrijving">
            <a:extLst>
              <a:ext uri="{FF2B5EF4-FFF2-40B4-BE49-F238E27FC236}">
                <a16:creationId xmlns:a16="http://schemas.microsoft.com/office/drawing/2014/main" id="{CC9DEC53-BC4B-2346-AA36-223A1BBF781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005" y="6224275"/>
            <a:ext cx="721729" cy="385200"/>
          </a:xfrm>
          <a:prstGeom prst="rect">
            <a:avLst/>
          </a:prstGeom>
        </p:spPr>
      </p:pic>
      <p:sp>
        <p:nvSpPr>
          <p:cNvPr id="2" name="Rechthoek 1">
            <a:extLst>
              <a:ext uri="{FF2B5EF4-FFF2-40B4-BE49-F238E27FC236}">
                <a16:creationId xmlns:a16="http://schemas.microsoft.com/office/drawing/2014/main" id="{2968A0B9-DD8B-DA4F-AEE8-40CC84B2F4AA}"/>
              </a:ext>
            </a:extLst>
          </p:cNvPr>
          <p:cNvSpPr/>
          <p:nvPr userDrawn="1"/>
        </p:nvSpPr>
        <p:spPr>
          <a:xfrm>
            <a:off x="249005" y="248525"/>
            <a:ext cx="129385" cy="262845"/>
          </a:xfrm>
          <a:prstGeom prst="rect">
            <a:avLst/>
          </a:prstGeom>
          <a:solidFill>
            <a:srgbClr val="F56E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678031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kstvak 12">
            <a:extLst>
              <a:ext uri="{FF2B5EF4-FFF2-40B4-BE49-F238E27FC236}">
                <a16:creationId xmlns:a16="http://schemas.microsoft.com/office/drawing/2014/main" id="{01B07982-FBA2-5B49-8DE3-5930F5FC15EA}"/>
              </a:ext>
            </a:extLst>
          </p:cNvPr>
          <p:cNvSpPr txBox="1"/>
          <p:nvPr userDrawn="1"/>
        </p:nvSpPr>
        <p:spPr>
          <a:xfrm>
            <a:off x="4302591" y="6429539"/>
            <a:ext cx="3701378" cy="400110"/>
          </a:xfrm>
          <a:prstGeom prst="rect">
            <a:avLst/>
          </a:prstGeom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1000" kern="1200" dirty="0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© SBM Offshore 2021. </a:t>
            </a:r>
            <a:r>
              <a:rPr lang="nl-NL" sz="1000" kern="1200" dirty="0" err="1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All</a:t>
            </a:r>
            <a:r>
              <a:rPr lang="nl-NL" sz="1000" kern="1200" dirty="0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000" kern="1200" dirty="0" err="1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rights</a:t>
            </a:r>
            <a:r>
              <a:rPr lang="nl-NL" sz="1000" kern="1200" dirty="0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000" kern="1200" dirty="0" err="1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reserved</a:t>
            </a:r>
            <a:r>
              <a:rPr lang="nl-NL" sz="1000" kern="1200" dirty="0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nl-NL" sz="1000" kern="1200" dirty="0" err="1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www.sbmoffshore.com</a:t>
            </a:r>
            <a:endParaRPr lang="nl-NL" sz="1000" kern="1200" dirty="0">
              <a:solidFill>
                <a:srgbClr val="646464"/>
              </a:solidFill>
              <a:effectLst/>
              <a:latin typeface="+mn-lt"/>
              <a:ea typeface="+mn-ea"/>
              <a:cs typeface="+mn-cs"/>
            </a:endParaRPr>
          </a:p>
          <a:p>
            <a:endParaRPr lang="nl-NL" sz="1000" dirty="0">
              <a:solidFill>
                <a:srgbClr val="646464"/>
              </a:solidFill>
            </a:endParaRPr>
          </a:p>
        </p:txBody>
      </p:sp>
      <p:pic>
        <p:nvPicPr>
          <p:cNvPr id="4" name="Afbeelding 7" descr="Afbeelding met tekening&#10;&#10;Automatisch gegenereerde beschrijving">
            <a:extLst>
              <a:ext uri="{FF2B5EF4-FFF2-40B4-BE49-F238E27FC236}">
                <a16:creationId xmlns:a16="http://schemas.microsoft.com/office/drawing/2014/main" id="{184DE1BB-1295-AF4B-A517-3DC08D7EDE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005" y="6224275"/>
            <a:ext cx="721729" cy="385200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0" y="6812282"/>
            <a:ext cx="12192000" cy="45719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636118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6812282"/>
            <a:ext cx="12192000" cy="45719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23" name="Title 13"/>
          <p:cNvSpPr>
            <a:spLocks noGrp="1"/>
          </p:cNvSpPr>
          <p:nvPr>
            <p:ph type="title" hasCustomPrompt="1"/>
          </p:nvPr>
        </p:nvSpPr>
        <p:spPr>
          <a:xfrm>
            <a:off x="378390" y="1769"/>
            <a:ext cx="7989904" cy="756112"/>
          </a:xfrm>
          <a:prstGeom prst="rect">
            <a:avLst/>
          </a:prstGeom>
        </p:spPr>
        <p:txBody>
          <a:bodyPr anchor="ctr" anchorCtr="0"/>
          <a:lstStyle>
            <a:lvl1pPr algn="l">
              <a:defRPr sz="2533" b="0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 subtitle</a:t>
            </a:r>
          </a:p>
        </p:txBody>
      </p:sp>
      <p:sp>
        <p:nvSpPr>
          <p:cNvPr id="14" name="Slide Number Placeholder 8">
            <a:extLst>
              <a:ext uri="{FF2B5EF4-FFF2-40B4-BE49-F238E27FC236}">
                <a16:creationId xmlns:a16="http://schemas.microsoft.com/office/drawing/2014/main" id="{82E77D56-3161-E548-A787-ADE5E318DAE4}"/>
              </a:ext>
            </a:extLst>
          </p:cNvPr>
          <p:cNvSpPr txBox="1">
            <a:spLocks/>
          </p:cNvSpPr>
          <p:nvPr userDrawn="1"/>
        </p:nvSpPr>
        <p:spPr>
          <a:xfrm>
            <a:off x="11441076" y="6420597"/>
            <a:ext cx="593060" cy="213471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rgbClr val="F56E23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r">
              <a:defRPr/>
            </a:pPr>
            <a:fld id="{31C852F3-457B-4BE9-ABEB-ADBE99B21990}" type="slidenum">
              <a:rPr lang="en-US" sz="1200" smtClean="0">
                <a:solidFill>
                  <a:srgbClr val="646464"/>
                </a:solidFill>
              </a:rPr>
              <a:pPr algn="r">
                <a:defRPr/>
              </a:pPr>
              <a:t>‹#›</a:t>
            </a:fld>
            <a:endParaRPr lang="en-US" sz="1200" dirty="0">
              <a:solidFill>
                <a:srgbClr val="646464"/>
              </a:solidFill>
            </a:endParaRP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357A99DA-550A-C741-B97D-688508D24B6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19200" y="1170918"/>
            <a:ext cx="9652000" cy="4523764"/>
          </a:xfrm>
          <a:prstGeom prst="rect">
            <a:avLst/>
          </a:prstGeom>
        </p:spPr>
        <p:txBody>
          <a:bodyPr/>
          <a:lstStyle>
            <a:lvl1pPr marL="457189" indent="-457189">
              <a:buClr>
                <a:srgbClr val="F56E23"/>
              </a:buClr>
              <a:buFontTx/>
              <a:buBlip>
                <a:blip r:embed="rId2"/>
              </a:buBlip>
              <a:defRPr sz="2400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1pPr>
            <a:lvl2pPr marL="1066773" indent="-457189">
              <a:buClr>
                <a:srgbClr val="F56E23"/>
              </a:buClr>
              <a:buFont typeface="Arial" pitchFamily="34" charset="0"/>
              <a:buChar char="•"/>
              <a:defRPr sz="2133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2pPr>
            <a:lvl3pPr marL="1676358" indent="-457189">
              <a:buClr>
                <a:srgbClr val="F56E23"/>
              </a:buClr>
              <a:buFont typeface="Arial" pitchFamily="34" charset="0"/>
              <a:buChar char="•"/>
              <a:defRPr sz="2000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3pPr>
            <a:lvl4pPr marL="2285943" indent="-457189">
              <a:buClr>
                <a:srgbClr val="F56E23"/>
              </a:buClr>
              <a:buFont typeface="Arial" pitchFamily="34" charset="0"/>
              <a:buChar char="•"/>
              <a:defRPr sz="1867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4pPr>
            <a:lvl5pPr marL="2895528" indent="-457189">
              <a:buClr>
                <a:srgbClr val="F56E23"/>
              </a:buClr>
              <a:buFont typeface="Arial" pitchFamily="34" charset="0"/>
              <a:buChar char="•"/>
              <a:defRPr sz="1867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F387B7B6-4E0D-164D-B98B-2A1B42E8F321}"/>
              </a:ext>
            </a:extLst>
          </p:cNvPr>
          <p:cNvSpPr txBox="1"/>
          <p:nvPr userDrawn="1"/>
        </p:nvSpPr>
        <p:spPr>
          <a:xfrm>
            <a:off x="4302591" y="6429539"/>
            <a:ext cx="3701378" cy="400110"/>
          </a:xfrm>
          <a:prstGeom prst="rect">
            <a:avLst/>
          </a:prstGeom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1000" kern="1200" dirty="0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© SBM Offshore 2021. </a:t>
            </a:r>
            <a:r>
              <a:rPr lang="nl-NL" sz="1000" kern="1200" dirty="0" err="1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All</a:t>
            </a:r>
            <a:r>
              <a:rPr lang="nl-NL" sz="1000" kern="1200" dirty="0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000" kern="1200" dirty="0" err="1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rights</a:t>
            </a:r>
            <a:r>
              <a:rPr lang="nl-NL" sz="1000" kern="1200" dirty="0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000" kern="1200" dirty="0" err="1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reserved</a:t>
            </a:r>
            <a:r>
              <a:rPr lang="nl-NL" sz="1000" kern="1200" dirty="0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nl-NL" sz="1000" kern="1200" dirty="0" err="1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www.sbmoffshore.com</a:t>
            </a:r>
            <a:endParaRPr lang="nl-NL" sz="1000" kern="1200" dirty="0">
              <a:solidFill>
                <a:srgbClr val="646464"/>
              </a:solidFill>
              <a:effectLst/>
              <a:latin typeface="+mn-lt"/>
              <a:ea typeface="+mn-ea"/>
              <a:cs typeface="+mn-cs"/>
            </a:endParaRPr>
          </a:p>
          <a:p>
            <a:endParaRPr lang="nl-NL" sz="1000" dirty="0">
              <a:solidFill>
                <a:srgbClr val="646464"/>
              </a:solidFill>
            </a:endParaRPr>
          </a:p>
        </p:txBody>
      </p:sp>
      <p:pic>
        <p:nvPicPr>
          <p:cNvPr id="8" name="Afbeelding 7" descr="Afbeelding met tekening&#10;&#10;Automatisch gegenereerde beschrijving">
            <a:extLst>
              <a:ext uri="{FF2B5EF4-FFF2-40B4-BE49-F238E27FC236}">
                <a16:creationId xmlns:a16="http://schemas.microsoft.com/office/drawing/2014/main" id="{113AC6AC-7203-7542-9BF7-3075F1570A8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9005" y="6224275"/>
            <a:ext cx="721729" cy="385200"/>
          </a:xfrm>
          <a:prstGeom prst="rect">
            <a:avLst/>
          </a:prstGeom>
        </p:spPr>
      </p:pic>
      <p:sp>
        <p:nvSpPr>
          <p:cNvPr id="10" name="Rechthoek 9">
            <a:extLst>
              <a:ext uri="{FF2B5EF4-FFF2-40B4-BE49-F238E27FC236}">
                <a16:creationId xmlns:a16="http://schemas.microsoft.com/office/drawing/2014/main" id="{444227CA-2897-6D44-B170-6BDB34D18F50}"/>
              </a:ext>
            </a:extLst>
          </p:cNvPr>
          <p:cNvSpPr/>
          <p:nvPr userDrawn="1"/>
        </p:nvSpPr>
        <p:spPr>
          <a:xfrm>
            <a:off x="249005" y="248525"/>
            <a:ext cx="129385" cy="262845"/>
          </a:xfrm>
          <a:prstGeom prst="rect">
            <a:avLst/>
          </a:prstGeom>
          <a:solidFill>
            <a:srgbClr val="F56E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036329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465" y="-1138705"/>
            <a:ext cx="12170535" cy="799670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10407" y="4065017"/>
            <a:ext cx="6971183" cy="1416039"/>
          </a:xfrm>
          <a:prstGeom prst="rect">
            <a:avLst/>
          </a:prstGeom>
        </p:spPr>
      </p:pic>
      <p:sp>
        <p:nvSpPr>
          <p:cNvPr id="5" name="Tekstvak 4">
            <a:extLst>
              <a:ext uri="{FF2B5EF4-FFF2-40B4-BE49-F238E27FC236}">
                <a16:creationId xmlns:a16="http://schemas.microsoft.com/office/drawing/2014/main" id="{ADDACA5F-B886-994A-A9A0-ECDE8D834836}"/>
              </a:ext>
            </a:extLst>
          </p:cNvPr>
          <p:cNvSpPr txBox="1"/>
          <p:nvPr userDrawn="1"/>
        </p:nvSpPr>
        <p:spPr>
          <a:xfrm>
            <a:off x="4302591" y="6429539"/>
            <a:ext cx="3701378" cy="400110"/>
          </a:xfrm>
          <a:prstGeom prst="rect">
            <a:avLst/>
          </a:prstGeom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© SBM Offshore 2021. All rights reserved. www.sbmoffshore.com</a:t>
            </a:r>
          </a:p>
          <a:p>
            <a:endParaRPr lang="nl-NL" sz="1000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30267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2633134" y="-2700867"/>
            <a:ext cx="6925733" cy="12192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10407" y="4065017"/>
            <a:ext cx="6971183" cy="1416039"/>
          </a:xfrm>
          <a:prstGeom prst="rect">
            <a:avLst/>
          </a:prstGeom>
        </p:spPr>
      </p:pic>
      <p:sp>
        <p:nvSpPr>
          <p:cNvPr id="8" name="Tekstvak 7">
            <a:extLst>
              <a:ext uri="{FF2B5EF4-FFF2-40B4-BE49-F238E27FC236}">
                <a16:creationId xmlns:a16="http://schemas.microsoft.com/office/drawing/2014/main" id="{124EEE74-036A-AA44-90ED-D519B2473A3D}"/>
              </a:ext>
            </a:extLst>
          </p:cNvPr>
          <p:cNvSpPr txBox="1"/>
          <p:nvPr userDrawn="1"/>
        </p:nvSpPr>
        <p:spPr>
          <a:xfrm>
            <a:off x="4302591" y="6429539"/>
            <a:ext cx="3701378" cy="400110"/>
          </a:xfrm>
          <a:prstGeom prst="rect">
            <a:avLst/>
          </a:prstGeom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10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© SBM Offshore 2020. </a:t>
            </a:r>
            <a:r>
              <a:rPr lang="nl-NL" sz="1000" kern="120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All</a:t>
            </a:r>
            <a:r>
              <a:rPr lang="nl-NL" sz="10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000" kern="120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rights</a:t>
            </a:r>
            <a:r>
              <a:rPr lang="nl-NL" sz="10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000" kern="120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reserved</a:t>
            </a:r>
            <a:r>
              <a:rPr lang="nl-NL" sz="10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nl-NL" sz="1000" kern="120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www.sbmoffshore.com</a:t>
            </a:r>
            <a:endParaRPr lang="nl-NL" sz="1000" kern="1200" dirty="0">
              <a:solidFill>
                <a:schemeClr val="bg1"/>
              </a:solidFill>
              <a:effectLst/>
              <a:latin typeface="+mn-lt"/>
              <a:ea typeface="+mn-ea"/>
              <a:cs typeface="+mn-cs"/>
            </a:endParaRPr>
          </a:p>
          <a:p>
            <a:endParaRPr lang="nl-NL" sz="1000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457324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C8E7BB2-EA0D-469D-B797-D1F136F2A01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083F347-D0CB-4B2A-8F86-DEFCF5BB0589}"/>
              </a:ext>
            </a:extLst>
          </p:cNvPr>
          <p:cNvSpPr/>
          <p:nvPr userDrawn="1"/>
        </p:nvSpPr>
        <p:spPr>
          <a:xfrm>
            <a:off x="0" y="4645456"/>
            <a:ext cx="5143500" cy="2212542"/>
          </a:xfrm>
          <a:prstGeom prst="rect">
            <a:avLst/>
          </a:prstGeom>
          <a:solidFill>
            <a:srgbClr val="0D30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84D4001B-7920-4F8C-9932-79FE6BA81D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0905"/>
          <a:stretch/>
        </p:blipFill>
        <p:spPr>
          <a:xfrm rot="16200000">
            <a:off x="4743491" y="3244887"/>
            <a:ext cx="2358946" cy="486727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F058B46-8A6F-45EF-9384-C5C2C4E747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80300" y="1728139"/>
            <a:ext cx="4205946" cy="424732"/>
          </a:xfrm>
        </p:spPr>
        <p:txBody>
          <a:bodyPr/>
          <a:lstStyle>
            <a:lvl1pPr algn="r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72D0AEE-6E85-4F67-9581-F2B8E91A8CC6}"/>
              </a:ext>
            </a:extLst>
          </p:cNvPr>
          <p:cNvSpPr/>
          <p:nvPr userDrawn="1"/>
        </p:nvSpPr>
        <p:spPr>
          <a:xfrm>
            <a:off x="4851400" y="4632861"/>
            <a:ext cx="7340600" cy="2225139"/>
          </a:xfrm>
          <a:prstGeom prst="rect">
            <a:avLst/>
          </a:prstGeom>
          <a:solidFill>
            <a:srgbClr val="1754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282651C6-97F8-439D-B5A1-36379983C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7121201" y="6235413"/>
            <a:ext cx="41148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© SBM Offshore 2023. All </a:t>
            </a:r>
            <a:r>
              <a:rPr lang="fr-FR" dirty="0" err="1"/>
              <a:t>rights</a:t>
            </a:r>
            <a:r>
              <a:rPr lang="fr-FR" dirty="0"/>
              <a:t> </a:t>
            </a:r>
            <a:r>
              <a:rPr lang="fr-FR" dirty="0" err="1"/>
              <a:t>reserved</a:t>
            </a:r>
            <a:r>
              <a:rPr lang="fr-FR" dirty="0"/>
              <a:t>. www.sbmoffshore.com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FB069117-3F2F-4395-A377-0161ABE3EC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193" t="36106" r="58588" b="42157"/>
          <a:stretch/>
        </p:blipFill>
        <p:spPr>
          <a:xfrm>
            <a:off x="10399398" y="518476"/>
            <a:ext cx="1357185" cy="739590"/>
          </a:xfrm>
          <a:prstGeom prst="rect">
            <a:avLst/>
          </a:prstGeom>
        </p:spPr>
      </p:pic>
      <p:sp>
        <p:nvSpPr>
          <p:cNvPr id="10" name="Freeform 36">
            <a:extLst>
              <a:ext uri="{FF2B5EF4-FFF2-40B4-BE49-F238E27FC236}">
                <a16:creationId xmlns:a16="http://schemas.microsoft.com/office/drawing/2014/main" id="{D1DF9318-0284-20D4-933B-A9AB01D7A168}"/>
              </a:ext>
            </a:extLst>
          </p:cNvPr>
          <p:cNvSpPr/>
          <p:nvPr userDrawn="1"/>
        </p:nvSpPr>
        <p:spPr>
          <a:xfrm rot="10800000">
            <a:off x="0" y="-59977"/>
            <a:ext cx="6648450" cy="4705432"/>
          </a:xfrm>
          <a:custGeom>
            <a:avLst/>
            <a:gdLst>
              <a:gd name="connsiteX0" fmla="*/ 1907369 w 5389960"/>
              <a:gd name="connsiteY0" fmla="*/ 0 h 3814737"/>
              <a:gd name="connsiteX1" fmla="*/ 3692434 w 5389960"/>
              <a:gd name="connsiteY1" fmla="*/ 0 h 3814737"/>
              <a:gd name="connsiteX2" fmla="*/ 3814736 w 5389960"/>
              <a:gd name="connsiteY2" fmla="*/ 0 h 3814737"/>
              <a:gd name="connsiteX3" fmla="*/ 5389960 w 5389960"/>
              <a:gd name="connsiteY3" fmla="*/ 0 h 3814737"/>
              <a:gd name="connsiteX4" fmla="*/ 5389960 w 5389960"/>
              <a:gd name="connsiteY4" fmla="*/ 3814737 h 3814737"/>
              <a:gd name="connsiteX5" fmla="*/ 3814736 w 5389960"/>
              <a:gd name="connsiteY5" fmla="*/ 3814737 h 3814737"/>
              <a:gd name="connsiteX6" fmla="*/ 1907369 w 5389960"/>
              <a:gd name="connsiteY6" fmla="*/ 3814737 h 3814737"/>
              <a:gd name="connsiteX7" fmla="*/ 0 w 5389960"/>
              <a:gd name="connsiteY7" fmla="*/ 1907370 h 3814737"/>
              <a:gd name="connsiteX8" fmla="*/ 1907369 w 5389960"/>
              <a:gd name="connsiteY8" fmla="*/ 0 h 3814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389960" h="3814737">
                <a:moveTo>
                  <a:pt x="1907369" y="0"/>
                </a:moveTo>
                <a:lnTo>
                  <a:pt x="3692434" y="0"/>
                </a:lnTo>
                <a:lnTo>
                  <a:pt x="3814736" y="0"/>
                </a:lnTo>
                <a:lnTo>
                  <a:pt x="5389960" y="0"/>
                </a:lnTo>
                <a:lnTo>
                  <a:pt x="5389960" y="3814737"/>
                </a:lnTo>
                <a:lnTo>
                  <a:pt x="3814736" y="3814737"/>
                </a:lnTo>
                <a:lnTo>
                  <a:pt x="1907369" y="3814737"/>
                </a:lnTo>
                <a:cubicBezTo>
                  <a:pt x="853955" y="3814737"/>
                  <a:pt x="0" y="2960779"/>
                  <a:pt x="0" y="1907370"/>
                </a:cubicBezTo>
                <a:cubicBezTo>
                  <a:pt x="0" y="853958"/>
                  <a:pt x="853955" y="0"/>
                  <a:pt x="1907369" y="0"/>
                </a:cubicBezTo>
                <a:close/>
              </a:path>
            </a:pathLst>
          </a:custGeom>
          <a:blipFill dpi="0" rotWithShape="0">
            <a:blip r:embed="rId5"/>
            <a:srcRect/>
            <a:tile tx="635000" ty="0" sx="80000" sy="80000" flip="none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7171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C8E7BB2-EA0D-469D-B797-D1F136F2A01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083F347-D0CB-4B2A-8F86-DEFCF5BB0589}"/>
              </a:ext>
            </a:extLst>
          </p:cNvPr>
          <p:cNvSpPr/>
          <p:nvPr userDrawn="1"/>
        </p:nvSpPr>
        <p:spPr>
          <a:xfrm>
            <a:off x="0" y="4645456"/>
            <a:ext cx="5143500" cy="2212542"/>
          </a:xfrm>
          <a:prstGeom prst="rect">
            <a:avLst/>
          </a:prstGeom>
          <a:solidFill>
            <a:srgbClr val="0D30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84D4001B-7920-4F8C-9932-79FE6BA81D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0905"/>
          <a:stretch/>
        </p:blipFill>
        <p:spPr>
          <a:xfrm rot="16200000">
            <a:off x="4743491" y="3244887"/>
            <a:ext cx="2358946" cy="486727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F058B46-8A6F-45EF-9384-C5C2C4E747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80300" y="1728139"/>
            <a:ext cx="4205946" cy="424732"/>
          </a:xfrm>
        </p:spPr>
        <p:txBody>
          <a:bodyPr/>
          <a:lstStyle>
            <a:lvl1pPr algn="r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72D0AEE-6E85-4F67-9581-F2B8E91A8CC6}"/>
              </a:ext>
            </a:extLst>
          </p:cNvPr>
          <p:cNvSpPr/>
          <p:nvPr userDrawn="1"/>
        </p:nvSpPr>
        <p:spPr>
          <a:xfrm>
            <a:off x="4851400" y="4632861"/>
            <a:ext cx="7340600" cy="2225139"/>
          </a:xfrm>
          <a:prstGeom prst="rect">
            <a:avLst/>
          </a:prstGeom>
          <a:solidFill>
            <a:srgbClr val="1754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282651C6-97F8-439D-B5A1-36379983C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7121201" y="6235413"/>
            <a:ext cx="41148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© SBM Offshore 2023. All </a:t>
            </a:r>
            <a:r>
              <a:rPr lang="fr-FR" dirty="0" err="1"/>
              <a:t>rights</a:t>
            </a:r>
            <a:r>
              <a:rPr lang="fr-FR" dirty="0"/>
              <a:t> </a:t>
            </a:r>
            <a:r>
              <a:rPr lang="fr-FR" dirty="0" err="1"/>
              <a:t>reserved</a:t>
            </a:r>
            <a:r>
              <a:rPr lang="fr-FR" dirty="0"/>
              <a:t>. www.sbmoffshore.com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3ADE8FA9-D406-4A1A-90A2-26852593F1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493002" y="585090"/>
            <a:ext cx="1210828" cy="648379"/>
          </a:xfrm>
          <a:prstGeom prst="rect">
            <a:avLst/>
          </a:prstGeom>
        </p:spPr>
      </p:pic>
      <p:sp>
        <p:nvSpPr>
          <p:cNvPr id="3" name="Freeform 36">
            <a:extLst>
              <a:ext uri="{FF2B5EF4-FFF2-40B4-BE49-F238E27FC236}">
                <a16:creationId xmlns:a16="http://schemas.microsoft.com/office/drawing/2014/main" id="{4CB70B48-E009-718E-3AFD-87F96F16717A}"/>
              </a:ext>
            </a:extLst>
          </p:cNvPr>
          <p:cNvSpPr/>
          <p:nvPr userDrawn="1"/>
        </p:nvSpPr>
        <p:spPr>
          <a:xfrm rot="10800000">
            <a:off x="0" y="-59977"/>
            <a:ext cx="6648450" cy="4705432"/>
          </a:xfrm>
          <a:custGeom>
            <a:avLst/>
            <a:gdLst>
              <a:gd name="connsiteX0" fmla="*/ 1907369 w 5389960"/>
              <a:gd name="connsiteY0" fmla="*/ 0 h 3814737"/>
              <a:gd name="connsiteX1" fmla="*/ 3692434 w 5389960"/>
              <a:gd name="connsiteY1" fmla="*/ 0 h 3814737"/>
              <a:gd name="connsiteX2" fmla="*/ 3814736 w 5389960"/>
              <a:gd name="connsiteY2" fmla="*/ 0 h 3814737"/>
              <a:gd name="connsiteX3" fmla="*/ 5389960 w 5389960"/>
              <a:gd name="connsiteY3" fmla="*/ 0 h 3814737"/>
              <a:gd name="connsiteX4" fmla="*/ 5389960 w 5389960"/>
              <a:gd name="connsiteY4" fmla="*/ 3814737 h 3814737"/>
              <a:gd name="connsiteX5" fmla="*/ 3814736 w 5389960"/>
              <a:gd name="connsiteY5" fmla="*/ 3814737 h 3814737"/>
              <a:gd name="connsiteX6" fmla="*/ 1907369 w 5389960"/>
              <a:gd name="connsiteY6" fmla="*/ 3814737 h 3814737"/>
              <a:gd name="connsiteX7" fmla="*/ 0 w 5389960"/>
              <a:gd name="connsiteY7" fmla="*/ 1907370 h 3814737"/>
              <a:gd name="connsiteX8" fmla="*/ 1907369 w 5389960"/>
              <a:gd name="connsiteY8" fmla="*/ 0 h 3814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389960" h="3814737">
                <a:moveTo>
                  <a:pt x="1907369" y="0"/>
                </a:moveTo>
                <a:lnTo>
                  <a:pt x="3692434" y="0"/>
                </a:lnTo>
                <a:lnTo>
                  <a:pt x="3814736" y="0"/>
                </a:lnTo>
                <a:lnTo>
                  <a:pt x="5389960" y="0"/>
                </a:lnTo>
                <a:lnTo>
                  <a:pt x="5389960" y="3814737"/>
                </a:lnTo>
                <a:lnTo>
                  <a:pt x="3814736" y="3814737"/>
                </a:lnTo>
                <a:lnTo>
                  <a:pt x="1907369" y="3814737"/>
                </a:lnTo>
                <a:cubicBezTo>
                  <a:pt x="853955" y="3814737"/>
                  <a:pt x="0" y="2960779"/>
                  <a:pt x="0" y="1907370"/>
                </a:cubicBezTo>
                <a:cubicBezTo>
                  <a:pt x="0" y="853958"/>
                  <a:pt x="853955" y="0"/>
                  <a:pt x="1907369" y="0"/>
                </a:cubicBezTo>
                <a:close/>
              </a:path>
            </a:pathLst>
          </a:custGeom>
          <a:blipFill dpi="0" rotWithShape="0">
            <a:blip r:embed="rId5"/>
            <a:srcRect/>
            <a:tile tx="635000" ty="0" sx="80000" sy="80000" flip="none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040937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Ful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body of water with a blue sky and clouds&#10;&#10;Description automatically generated with low confidence">
            <a:extLst>
              <a:ext uri="{FF2B5EF4-FFF2-40B4-BE49-F238E27FC236}">
                <a16:creationId xmlns:a16="http://schemas.microsoft.com/office/drawing/2014/main" id="{FB6428F9-0412-452B-9843-019E9CC2E2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id="{94F75CED-015E-456C-8E3E-E9399272BD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64000" y="623541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ctr">
              <a:defRPr sz="700" b="0" i="0">
                <a:solidFill>
                  <a:schemeClr val="bg1"/>
                </a:solidFill>
                <a:latin typeface="Avenir Light" panose="020B0402020203020204" pitchFamily="34" charset="77"/>
              </a:defRPr>
            </a:lvl1pPr>
          </a:lstStyle>
          <a:p>
            <a:r>
              <a:rPr lang="fr-FR" dirty="0"/>
              <a:t>© SBM Offshore 2023. All </a:t>
            </a:r>
            <a:r>
              <a:rPr lang="fr-FR" dirty="0" err="1"/>
              <a:t>rights</a:t>
            </a:r>
            <a:r>
              <a:rPr lang="fr-FR" dirty="0"/>
              <a:t> </a:t>
            </a:r>
            <a:r>
              <a:rPr lang="fr-FR" dirty="0" err="1"/>
              <a:t>reserved</a:t>
            </a:r>
            <a:r>
              <a:rPr lang="fr-FR" dirty="0"/>
              <a:t>. www.sbmoffshore.com</a:t>
            </a:r>
          </a:p>
        </p:txBody>
      </p:sp>
    </p:spTree>
    <p:extLst>
      <p:ext uri="{BB962C8B-B14F-4D97-AF65-F5344CB8AC3E}">
        <p14:creationId xmlns:p14="http://schemas.microsoft.com/office/powerpoint/2010/main" val="188916514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Ful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text&#10;&#10;Description automatically generated">
            <a:extLst>
              <a:ext uri="{FF2B5EF4-FFF2-40B4-BE49-F238E27FC236}">
                <a16:creationId xmlns:a16="http://schemas.microsoft.com/office/drawing/2014/main" id="{1B8F71C3-C530-4C49-A9A1-0B81F03D60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Espace réservé du contenu 8">
            <a:extLst>
              <a:ext uri="{FF2B5EF4-FFF2-40B4-BE49-F238E27FC236}">
                <a16:creationId xmlns:a16="http://schemas.microsoft.com/office/drawing/2014/main" id="{438B4002-7828-A046-A04B-4E33E7758D7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250831" y="1160464"/>
            <a:ext cx="5149969" cy="4645024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2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Click to edit Master title </a:t>
            </a:r>
            <a:r>
              <a:rPr lang="en-US" noProof="0" dirty="0"/>
              <a:t>style</a:t>
            </a: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id="{94F75CED-015E-456C-8E3E-E9399272BD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53117" y="6235413"/>
            <a:ext cx="41148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 anchorCtr="0"/>
          <a:lstStyle>
            <a:lvl1pPr algn="ctr">
              <a:defRPr sz="700" b="0" i="0">
                <a:solidFill>
                  <a:schemeClr val="bg1"/>
                </a:solidFill>
                <a:latin typeface="Avenir Light" panose="020B0402020203020204" pitchFamily="34" charset="77"/>
              </a:defRPr>
            </a:lvl1pPr>
          </a:lstStyle>
          <a:p>
            <a:r>
              <a:rPr lang="fr-FR" dirty="0"/>
              <a:t>© SBM Offshore a2023. All </a:t>
            </a:r>
            <a:r>
              <a:rPr lang="fr-FR" dirty="0" err="1"/>
              <a:t>rights</a:t>
            </a:r>
            <a:r>
              <a:rPr lang="fr-FR" dirty="0"/>
              <a:t> </a:t>
            </a:r>
            <a:r>
              <a:rPr lang="fr-FR" dirty="0" err="1"/>
              <a:t>reserved</a:t>
            </a:r>
            <a:r>
              <a:rPr lang="fr-FR" dirty="0"/>
              <a:t>. www.sbmoffshore.com</a:t>
            </a:r>
          </a:p>
        </p:txBody>
      </p:sp>
    </p:spTree>
    <p:extLst>
      <p:ext uri="{BB962C8B-B14F-4D97-AF65-F5344CB8AC3E}">
        <p14:creationId xmlns:p14="http://schemas.microsoft.com/office/powerpoint/2010/main" val="199637898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18EA3286-4F57-7949-B15D-E084DCCA79E4}"/>
              </a:ext>
            </a:extLst>
          </p:cNvPr>
          <p:cNvSpPr/>
          <p:nvPr userDrawn="1"/>
        </p:nvSpPr>
        <p:spPr>
          <a:xfrm>
            <a:off x="6348046" y="0"/>
            <a:ext cx="584395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="0" i="0" dirty="0">
              <a:latin typeface="Arial" panose="020B0604020202020204" pitchFamily="34" charset="0"/>
            </a:endParaRP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C84B577D-BD11-EA42-B52C-0E8397E6865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689614" y="3920693"/>
            <a:ext cx="5160818" cy="1932852"/>
          </a:xfrm>
        </p:spPr>
        <p:txBody>
          <a:bodyPr>
            <a:normAutofit/>
          </a:bodyPr>
          <a:lstStyle>
            <a:lvl1pPr marL="0" indent="0" algn="l">
              <a:buNone/>
              <a:defRPr sz="20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title style</a:t>
            </a:r>
            <a:endParaRPr lang="en-US" noProof="0" dirty="0"/>
          </a:p>
        </p:txBody>
      </p: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FBFBAE01-699E-334F-BDB2-AE5B29FE456B}"/>
              </a:ext>
            </a:extLst>
          </p:cNvPr>
          <p:cNvCxnSpPr>
            <a:cxnSpLocks/>
          </p:cNvCxnSpPr>
          <p:nvPr/>
        </p:nvCxnSpPr>
        <p:spPr>
          <a:xfrm>
            <a:off x="7158835" y="5967319"/>
            <a:ext cx="4222377" cy="0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Espace réservé pour une image  16">
            <a:extLst>
              <a:ext uri="{FF2B5EF4-FFF2-40B4-BE49-F238E27FC236}">
                <a16:creationId xmlns:a16="http://schemas.microsoft.com/office/drawing/2014/main" id="{9B580751-2C05-E043-B034-3ABB664A240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6096000" cy="6858000"/>
          </a:xfrm>
          <a:solidFill>
            <a:schemeClr val="bg1"/>
          </a:solidFill>
        </p:spPr>
        <p:txBody>
          <a:bodyPr/>
          <a:lstStyle>
            <a:lvl1pPr>
              <a:buClr>
                <a:schemeClr val="tx2"/>
              </a:buClr>
              <a:defRPr>
                <a:solidFill>
                  <a:schemeClr val="accent1"/>
                </a:solidFill>
              </a:defRPr>
            </a:lvl1pPr>
          </a:lstStyle>
          <a:p>
            <a:r>
              <a:rPr lang="fr-FR" dirty="0"/>
              <a:t>Click on the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an image</a:t>
            </a:r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E8137206-A01E-614A-A5B1-2DC3840AC1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89614" y="252050"/>
            <a:ext cx="5160818" cy="3668643"/>
          </a:xfrm>
          <a:noFill/>
          <a:ln>
            <a:noFill/>
          </a:ln>
        </p:spPr>
        <p:txBody>
          <a:bodyPr tIns="0" bIns="0" anchor="b" anchorCtr="0">
            <a:noAutofit/>
          </a:bodyPr>
          <a:lstStyle>
            <a:lvl1pPr>
              <a:defRPr sz="3300" b="0" i="0">
                <a:ln>
                  <a:noFill/>
                </a:ln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title style</a:t>
            </a:r>
            <a:endParaRPr lang="en-US" noProof="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2A87FC8-0694-8D4D-B20E-FA0C0B564119}"/>
              </a:ext>
            </a:extLst>
          </p:cNvPr>
          <p:cNvSpPr/>
          <p:nvPr/>
        </p:nvSpPr>
        <p:spPr>
          <a:xfrm>
            <a:off x="6096000" y="0"/>
            <a:ext cx="25204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="0" i="0" dirty="0">
              <a:latin typeface="Arial" panose="020B0604020202020204" pitchFamily="34" charset="0"/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83EA6D7A-E25B-4726-BFD5-054BD2DD1E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795581" y="6159264"/>
            <a:ext cx="948883" cy="507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859485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18EA3286-4F57-7949-B15D-E084DCCA79E4}"/>
              </a:ext>
            </a:extLst>
          </p:cNvPr>
          <p:cNvSpPr/>
          <p:nvPr userDrawn="1"/>
        </p:nvSpPr>
        <p:spPr>
          <a:xfrm>
            <a:off x="6348046" y="0"/>
            <a:ext cx="5843954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="0" i="0" dirty="0">
              <a:latin typeface="Arial" panose="020B0604020202020204" pitchFamily="34" charset="0"/>
            </a:endParaRP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C84B577D-BD11-EA42-B52C-0E8397E6865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689614" y="3920693"/>
            <a:ext cx="5160818" cy="1932852"/>
          </a:xfrm>
        </p:spPr>
        <p:txBody>
          <a:bodyPr>
            <a:normAutofit/>
          </a:bodyPr>
          <a:lstStyle>
            <a:lvl1pPr marL="0" indent="0" algn="l">
              <a:buNone/>
              <a:defRPr sz="20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title style</a:t>
            </a:r>
            <a:endParaRPr lang="en-US" noProof="0" dirty="0"/>
          </a:p>
        </p:txBody>
      </p: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FBFBAE01-699E-334F-BDB2-AE5B29FE456B}"/>
              </a:ext>
            </a:extLst>
          </p:cNvPr>
          <p:cNvCxnSpPr>
            <a:cxnSpLocks/>
          </p:cNvCxnSpPr>
          <p:nvPr/>
        </p:nvCxnSpPr>
        <p:spPr>
          <a:xfrm>
            <a:off x="7158835" y="5967319"/>
            <a:ext cx="4222377" cy="0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Espace réservé pour une image  16">
            <a:extLst>
              <a:ext uri="{FF2B5EF4-FFF2-40B4-BE49-F238E27FC236}">
                <a16:creationId xmlns:a16="http://schemas.microsoft.com/office/drawing/2014/main" id="{9B580751-2C05-E043-B034-3ABB664A240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6096000" cy="6858000"/>
          </a:xfrm>
          <a:solidFill>
            <a:schemeClr val="bg1"/>
          </a:solidFill>
        </p:spPr>
        <p:txBody>
          <a:bodyPr/>
          <a:lstStyle>
            <a:lvl1pPr>
              <a:buClr>
                <a:schemeClr val="tx2"/>
              </a:buClr>
              <a:defRPr/>
            </a:lvl1pPr>
          </a:lstStyle>
          <a:p>
            <a:r>
              <a:rPr lang="fr-FR" dirty="0"/>
              <a:t>Click on the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an image</a:t>
            </a:r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E8137206-A01E-614A-A5B1-2DC3840AC1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89614" y="252050"/>
            <a:ext cx="5160818" cy="3668643"/>
          </a:xfrm>
          <a:noFill/>
        </p:spPr>
        <p:txBody>
          <a:bodyPr tIns="0" bIns="0" anchor="b" anchorCtr="0">
            <a:noAutofit/>
          </a:bodyPr>
          <a:lstStyle>
            <a:lvl1pPr>
              <a:defRPr sz="3300" b="0" i="0">
                <a:ln>
                  <a:noFill/>
                </a:ln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title style</a:t>
            </a:r>
            <a:endParaRPr lang="en-US" noProof="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2A87FC8-0694-8D4D-B20E-FA0C0B564119}"/>
              </a:ext>
            </a:extLst>
          </p:cNvPr>
          <p:cNvSpPr/>
          <p:nvPr/>
        </p:nvSpPr>
        <p:spPr>
          <a:xfrm>
            <a:off x="6096000" y="0"/>
            <a:ext cx="252046" cy="6858000"/>
          </a:xfrm>
          <a:prstGeom prst="rect">
            <a:avLst/>
          </a:prstGeom>
          <a:solidFill>
            <a:srgbClr val="F6F6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="0" i="0" dirty="0">
              <a:latin typeface="Arial" panose="020B0604020202020204" pitchFamily="34" charset="0"/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D2480EDF-AFD2-4686-B0C0-95146E2EC0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795581" y="6159264"/>
            <a:ext cx="948883" cy="507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32762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6812282"/>
            <a:ext cx="12192000" cy="45719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23" name="Title 13"/>
          <p:cNvSpPr>
            <a:spLocks noGrp="1"/>
          </p:cNvSpPr>
          <p:nvPr>
            <p:ph type="title" hasCustomPrompt="1"/>
          </p:nvPr>
        </p:nvSpPr>
        <p:spPr>
          <a:xfrm>
            <a:off x="378390" y="1769"/>
            <a:ext cx="7989904" cy="756112"/>
          </a:xfrm>
          <a:prstGeom prst="rect">
            <a:avLst/>
          </a:prstGeom>
        </p:spPr>
        <p:txBody>
          <a:bodyPr anchor="ctr" anchorCtr="0"/>
          <a:lstStyle>
            <a:lvl1pPr algn="l">
              <a:defRPr sz="2533" b="0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 subtitle</a:t>
            </a:r>
          </a:p>
        </p:txBody>
      </p:sp>
      <p:sp>
        <p:nvSpPr>
          <p:cNvPr id="14" name="Slide Number Placeholder 8">
            <a:extLst>
              <a:ext uri="{FF2B5EF4-FFF2-40B4-BE49-F238E27FC236}">
                <a16:creationId xmlns:a16="http://schemas.microsoft.com/office/drawing/2014/main" id="{82E77D56-3161-E548-A787-ADE5E318DAE4}"/>
              </a:ext>
            </a:extLst>
          </p:cNvPr>
          <p:cNvSpPr txBox="1">
            <a:spLocks/>
          </p:cNvSpPr>
          <p:nvPr userDrawn="1"/>
        </p:nvSpPr>
        <p:spPr>
          <a:xfrm>
            <a:off x="11441076" y="6420597"/>
            <a:ext cx="593060" cy="213471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rgbClr val="F56E23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r">
              <a:defRPr/>
            </a:pPr>
            <a:fld id="{31C852F3-457B-4BE9-ABEB-ADBE99B21990}" type="slidenum">
              <a:rPr lang="en-US" sz="1200" smtClean="0">
                <a:solidFill>
                  <a:srgbClr val="646464"/>
                </a:solidFill>
              </a:rPr>
              <a:pPr algn="r">
                <a:defRPr/>
              </a:pPr>
              <a:t>‹#›</a:t>
            </a:fld>
            <a:endParaRPr lang="en-US" sz="1200" dirty="0">
              <a:solidFill>
                <a:srgbClr val="646464"/>
              </a:solidFill>
            </a:endParaRP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357A99DA-550A-C741-B97D-688508D24B6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19200" y="1170918"/>
            <a:ext cx="9652000" cy="4523764"/>
          </a:xfrm>
          <a:prstGeom prst="rect">
            <a:avLst/>
          </a:prstGeom>
        </p:spPr>
        <p:txBody>
          <a:bodyPr/>
          <a:lstStyle>
            <a:lvl1pPr marL="457189" indent="-457189">
              <a:buClr>
                <a:srgbClr val="F56E23"/>
              </a:buClr>
              <a:buFontTx/>
              <a:buBlip>
                <a:blip r:embed="rId2"/>
              </a:buBlip>
              <a:defRPr sz="2400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1pPr>
            <a:lvl2pPr marL="1066773" indent="-457189">
              <a:buClr>
                <a:srgbClr val="F56E23"/>
              </a:buClr>
              <a:buFont typeface="Arial" pitchFamily="34" charset="0"/>
              <a:buChar char="•"/>
              <a:defRPr sz="2133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2pPr>
            <a:lvl3pPr marL="1676358" indent="-457189">
              <a:buClr>
                <a:srgbClr val="F56E23"/>
              </a:buClr>
              <a:buFont typeface="Arial" pitchFamily="34" charset="0"/>
              <a:buChar char="•"/>
              <a:defRPr sz="2000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3pPr>
            <a:lvl4pPr marL="2285943" indent="-457189">
              <a:buClr>
                <a:srgbClr val="F56E23"/>
              </a:buClr>
              <a:buFont typeface="Arial" pitchFamily="34" charset="0"/>
              <a:buChar char="•"/>
              <a:defRPr sz="1867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4pPr>
            <a:lvl5pPr marL="2895528" indent="-457189">
              <a:buClr>
                <a:srgbClr val="F56E23"/>
              </a:buClr>
              <a:buFont typeface="Arial" pitchFamily="34" charset="0"/>
              <a:buChar char="•"/>
              <a:defRPr sz="1867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F387B7B6-4E0D-164D-B98B-2A1B42E8F321}"/>
              </a:ext>
            </a:extLst>
          </p:cNvPr>
          <p:cNvSpPr txBox="1"/>
          <p:nvPr userDrawn="1"/>
        </p:nvSpPr>
        <p:spPr>
          <a:xfrm>
            <a:off x="4302591" y="6429539"/>
            <a:ext cx="3701378" cy="400110"/>
          </a:xfrm>
          <a:prstGeom prst="rect">
            <a:avLst/>
          </a:prstGeom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1000" kern="1200" dirty="0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© SBM Offshore 2021. </a:t>
            </a:r>
            <a:r>
              <a:rPr lang="nl-NL" sz="1000" kern="1200" dirty="0" err="1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All</a:t>
            </a:r>
            <a:r>
              <a:rPr lang="nl-NL" sz="1000" kern="1200" dirty="0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000" kern="1200" dirty="0" err="1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rights</a:t>
            </a:r>
            <a:r>
              <a:rPr lang="nl-NL" sz="1000" kern="1200" dirty="0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000" kern="1200" dirty="0" err="1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reserved</a:t>
            </a:r>
            <a:r>
              <a:rPr lang="nl-NL" sz="1000" kern="1200" dirty="0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nl-NL" sz="1000" kern="1200" dirty="0" err="1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www.sbmoffshore.com</a:t>
            </a:r>
            <a:endParaRPr lang="nl-NL" sz="1000" kern="1200" dirty="0">
              <a:solidFill>
                <a:srgbClr val="646464"/>
              </a:solidFill>
              <a:effectLst/>
              <a:latin typeface="+mn-lt"/>
              <a:ea typeface="+mn-ea"/>
              <a:cs typeface="+mn-cs"/>
            </a:endParaRPr>
          </a:p>
          <a:p>
            <a:endParaRPr lang="nl-NL" sz="1000" dirty="0">
              <a:solidFill>
                <a:srgbClr val="646464"/>
              </a:solidFill>
            </a:endParaRPr>
          </a:p>
        </p:txBody>
      </p:sp>
      <p:pic>
        <p:nvPicPr>
          <p:cNvPr id="8" name="Afbeelding 7" descr="Afbeelding met tekening&#10;&#10;Automatisch gegenereerde beschrijving">
            <a:extLst>
              <a:ext uri="{FF2B5EF4-FFF2-40B4-BE49-F238E27FC236}">
                <a16:creationId xmlns:a16="http://schemas.microsoft.com/office/drawing/2014/main" id="{113AC6AC-7203-7542-9BF7-3075F1570A8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005" y="6224275"/>
            <a:ext cx="721729" cy="385200"/>
          </a:xfrm>
          <a:prstGeom prst="rect">
            <a:avLst/>
          </a:prstGeom>
        </p:spPr>
      </p:pic>
      <p:sp>
        <p:nvSpPr>
          <p:cNvPr id="10" name="Rechthoek 9">
            <a:extLst>
              <a:ext uri="{FF2B5EF4-FFF2-40B4-BE49-F238E27FC236}">
                <a16:creationId xmlns:a16="http://schemas.microsoft.com/office/drawing/2014/main" id="{444227CA-2897-6D44-B170-6BDB34D18F50}"/>
              </a:ext>
            </a:extLst>
          </p:cNvPr>
          <p:cNvSpPr/>
          <p:nvPr userDrawn="1"/>
        </p:nvSpPr>
        <p:spPr>
          <a:xfrm>
            <a:off x="249005" y="248525"/>
            <a:ext cx="129385" cy="262845"/>
          </a:xfrm>
          <a:prstGeom prst="rect">
            <a:avLst/>
          </a:prstGeom>
          <a:solidFill>
            <a:srgbClr val="F56E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2755596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 page whit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18EA3286-4F57-7949-B15D-E084DCCA79E4}"/>
              </a:ext>
            </a:extLst>
          </p:cNvPr>
          <p:cNvSpPr/>
          <p:nvPr/>
        </p:nvSpPr>
        <p:spPr>
          <a:xfrm>
            <a:off x="-16660" y="0"/>
            <a:ext cx="6112659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="0" i="0" dirty="0">
              <a:latin typeface="Arial" panose="020B0604020202020204" pitchFamily="34" charset="0"/>
            </a:endParaRPr>
          </a:p>
        </p:txBody>
      </p: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FBFBAE01-699E-334F-BDB2-AE5B29FE456B}"/>
              </a:ext>
            </a:extLst>
          </p:cNvPr>
          <p:cNvCxnSpPr>
            <a:cxnSpLocks/>
          </p:cNvCxnSpPr>
          <p:nvPr/>
        </p:nvCxnSpPr>
        <p:spPr>
          <a:xfrm>
            <a:off x="928481" y="5967319"/>
            <a:ext cx="4222377" cy="0"/>
          </a:xfrm>
          <a:prstGeom prst="line">
            <a:avLst/>
          </a:prstGeom>
          <a:ln w="3175">
            <a:solidFill>
              <a:srgbClr val="E4682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Espace réservé pour une image  16">
            <a:extLst>
              <a:ext uri="{FF2B5EF4-FFF2-40B4-BE49-F238E27FC236}">
                <a16:creationId xmlns:a16="http://schemas.microsoft.com/office/drawing/2014/main" id="{9B580751-2C05-E043-B034-3ABB664A240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348046" y="0"/>
            <a:ext cx="5843954" cy="6858000"/>
          </a:xfrm>
          <a:solidFill>
            <a:schemeClr val="bg1"/>
          </a:solidFill>
        </p:spPr>
        <p:txBody>
          <a:bodyPr/>
          <a:lstStyle>
            <a:lvl1pPr>
              <a:buClr>
                <a:schemeClr val="tx2"/>
              </a:buClr>
              <a:defRPr>
                <a:solidFill>
                  <a:schemeClr val="accent1"/>
                </a:solidFill>
              </a:defRPr>
            </a:lvl1pPr>
          </a:lstStyle>
          <a:p>
            <a:r>
              <a:rPr lang="fr-FR" dirty="0"/>
              <a:t>Click on the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an image</a:t>
            </a:r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E8137206-A01E-614A-A5B1-2DC3840AC1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260350"/>
            <a:ext cx="5535611" cy="5545131"/>
          </a:xfrm>
          <a:noFill/>
        </p:spPr>
        <p:txBody>
          <a:bodyPr tIns="0" bIns="0" anchor="ctr" anchorCtr="0">
            <a:noAutofit/>
          </a:bodyPr>
          <a:lstStyle>
            <a:lvl1pPr algn="ctr">
              <a:defRPr sz="2200" b="0" i="0">
                <a:ln>
                  <a:solidFill>
                    <a:srgbClr val="EB6608"/>
                  </a:solidFill>
                </a:ln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title style</a:t>
            </a:r>
            <a:endParaRPr lang="fr-FR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2A87FC8-0694-8D4D-B20E-FA0C0B564119}"/>
              </a:ext>
            </a:extLst>
          </p:cNvPr>
          <p:cNvSpPr/>
          <p:nvPr/>
        </p:nvSpPr>
        <p:spPr>
          <a:xfrm>
            <a:off x="6095999" y="0"/>
            <a:ext cx="252046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="0" i="0" dirty="0">
              <a:latin typeface="Arial" panose="020B0604020202020204" pitchFamily="34" charset="0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D73D8AD-16F8-47E7-A2D8-E56A0F0CD0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193" t="36106" r="58588" b="42157"/>
          <a:stretch/>
        </p:blipFill>
        <p:spPr>
          <a:xfrm>
            <a:off x="2441275" y="6103127"/>
            <a:ext cx="1072748" cy="584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670716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el page whit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18EA3286-4F57-7949-B15D-E084DCCA79E4}"/>
              </a:ext>
            </a:extLst>
          </p:cNvPr>
          <p:cNvSpPr/>
          <p:nvPr/>
        </p:nvSpPr>
        <p:spPr>
          <a:xfrm>
            <a:off x="-16660" y="0"/>
            <a:ext cx="6112659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="0" i="0" dirty="0">
              <a:latin typeface="Arial" panose="020B0604020202020204" pitchFamily="34" charset="0"/>
            </a:endParaRPr>
          </a:p>
        </p:txBody>
      </p: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FBFBAE01-699E-334F-BDB2-AE5B29FE456B}"/>
              </a:ext>
            </a:extLst>
          </p:cNvPr>
          <p:cNvCxnSpPr>
            <a:cxnSpLocks/>
          </p:cNvCxnSpPr>
          <p:nvPr/>
        </p:nvCxnSpPr>
        <p:spPr>
          <a:xfrm>
            <a:off x="928481" y="5967319"/>
            <a:ext cx="4222377" cy="0"/>
          </a:xfrm>
          <a:prstGeom prst="line">
            <a:avLst/>
          </a:prstGeom>
          <a:ln w="3175">
            <a:solidFill>
              <a:srgbClr val="E4682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Espace réservé pour une image  16">
            <a:extLst>
              <a:ext uri="{FF2B5EF4-FFF2-40B4-BE49-F238E27FC236}">
                <a16:creationId xmlns:a16="http://schemas.microsoft.com/office/drawing/2014/main" id="{9B580751-2C05-E043-B034-3ABB664A240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348046" y="0"/>
            <a:ext cx="5843954" cy="6858000"/>
          </a:xfrm>
          <a:solidFill>
            <a:schemeClr val="bg1"/>
          </a:solidFill>
        </p:spPr>
        <p:txBody>
          <a:bodyPr/>
          <a:lstStyle>
            <a:lvl1pPr>
              <a:buClr>
                <a:schemeClr val="tx2"/>
              </a:buClr>
              <a:defRPr>
                <a:solidFill>
                  <a:schemeClr val="accent1"/>
                </a:solidFill>
              </a:defRPr>
            </a:lvl1pPr>
          </a:lstStyle>
          <a:p>
            <a:r>
              <a:rPr lang="fr-FR" dirty="0"/>
              <a:t>Click on the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an image</a:t>
            </a:r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E8137206-A01E-614A-A5B1-2DC3840AC1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260350"/>
            <a:ext cx="5535611" cy="5545131"/>
          </a:xfrm>
          <a:noFill/>
        </p:spPr>
        <p:txBody>
          <a:bodyPr tIns="0" bIns="0" anchor="ctr" anchorCtr="0">
            <a:noAutofit/>
          </a:bodyPr>
          <a:lstStyle>
            <a:lvl1pPr algn="ctr">
              <a:defRPr sz="2200" b="0" i="0">
                <a:ln>
                  <a:solidFill>
                    <a:srgbClr val="EB6608"/>
                  </a:solidFill>
                </a:ln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title style</a:t>
            </a:r>
            <a:endParaRPr lang="fr-FR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2A87FC8-0694-8D4D-B20E-FA0C0B564119}"/>
              </a:ext>
            </a:extLst>
          </p:cNvPr>
          <p:cNvSpPr/>
          <p:nvPr/>
        </p:nvSpPr>
        <p:spPr>
          <a:xfrm>
            <a:off x="6095999" y="0"/>
            <a:ext cx="25204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="0" i="0" dirty="0">
              <a:latin typeface="Arial" panose="020B0604020202020204" pitchFamily="34" charset="0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D73D8AD-16F8-47E7-A2D8-E56A0F0CD0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193" t="36106" r="58588" b="42157"/>
          <a:stretch/>
        </p:blipFill>
        <p:spPr>
          <a:xfrm>
            <a:off x="2441275" y="6103127"/>
            <a:ext cx="1072748" cy="584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19470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el page whit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18EA3286-4F57-7949-B15D-E084DCCA79E4}"/>
              </a:ext>
            </a:extLst>
          </p:cNvPr>
          <p:cNvSpPr/>
          <p:nvPr/>
        </p:nvSpPr>
        <p:spPr>
          <a:xfrm>
            <a:off x="-16660" y="0"/>
            <a:ext cx="611265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="0" i="0" dirty="0">
              <a:latin typeface="Arial" panose="020B0604020202020204" pitchFamily="34" charset="0"/>
            </a:endParaRPr>
          </a:p>
        </p:txBody>
      </p: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FBFBAE01-699E-334F-BDB2-AE5B29FE456B}"/>
              </a:ext>
            </a:extLst>
          </p:cNvPr>
          <p:cNvCxnSpPr>
            <a:cxnSpLocks/>
          </p:cNvCxnSpPr>
          <p:nvPr/>
        </p:nvCxnSpPr>
        <p:spPr>
          <a:xfrm>
            <a:off x="928481" y="5967319"/>
            <a:ext cx="4222377" cy="0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Espace réservé pour une image  16">
            <a:extLst>
              <a:ext uri="{FF2B5EF4-FFF2-40B4-BE49-F238E27FC236}">
                <a16:creationId xmlns:a16="http://schemas.microsoft.com/office/drawing/2014/main" id="{9B580751-2C05-E043-B034-3ABB664A240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348046" y="0"/>
            <a:ext cx="5843954" cy="68580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rgbClr val="EB6608"/>
                </a:solidFill>
              </a:defRPr>
            </a:lvl1pPr>
          </a:lstStyle>
          <a:p>
            <a:r>
              <a:rPr lang="fr-FR" dirty="0"/>
              <a:t>Click on the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an image</a:t>
            </a:r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E8137206-A01E-614A-A5B1-2DC3840AC1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260350"/>
            <a:ext cx="5535611" cy="5545131"/>
          </a:xfrm>
          <a:noFill/>
          <a:ln>
            <a:noFill/>
          </a:ln>
        </p:spPr>
        <p:txBody>
          <a:bodyPr tIns="0" bIns="0" anchor="ctr" anchorCtr="0">
            <a:noAutofit/>
          </a:bodyPr>
          <a:lstStyle>
            <a:lvl1pPr algn="ctr">
              <a:defRPr sz="3300" b="0" i="0">
                <a:ln>
                  <a:noFill/>
                </a:ln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title style</a:t>
            </a:r>
            <a:endParaRPr lang="fr-FR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5C922DC-3CFA-49C6-ADE2-6F299B23654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565227" y="6159264"/>
            <a:ext cx="948883" cy="507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692462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027A149-96CC-4B91-9B6D-52E81DC3D950}"/>
              </a:ext>
            </a:extLst>
          </p:cNvPr>
          <p:cNvSpPr/>
          <p:nvPr userDrawn="1"/>
        </p:nvSpPr>
        <p:spPr>
          <a:xfrm>
            <a:off x="0" y="0"/>
            <a:ext cx="12192000" cy="70895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6595CDE-F328-4BCB-93CF-42B5A1359E87}"/>
              </a:ext>
            </a:extLst>
          </p:cNvPr>
          <p:cNvSpPr/>
          <p:nvPr userDrawn="1"/>
        </p:nvSpPr>
        <p:spPr>
          <a:xfrm>
            <a:off x="9426742" y="0"/>
            <a:ext cx="2772088" cy="70895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C4AE327F-08DC-481F-B642-558DA023FB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6238" t="48889" r="52310" b="46482"/>
          <a:stretch/>
        </p:blipFill>
        <p:spPr>
          <a:xfrm rot="16200000">
            <a:off x="9484401" y="-912797"/>
            <a:ext cx="708952" cy="253454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F058B46-8A6F-45EF-9384-C5C2C4E747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08104"/>
            <a:ext cx="9011924" cy="369332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D06653-6B0B-426C-A727-DE4E521E58D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/>
              <a:t>© SBM Offshore 2023. All rights reserved. www.sbmoffshore.com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E6DE9A-B695-4448-B6E8-05C86B3D031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07B8046-5099-5A4D-8E74-E863D84FE29A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A3ADDFA-63F7-4055-B3B1-6716C856A8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07988" y="1117600"/>
            <a:ext cx="11368742" cy="4711700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4E558A71-8794-4AD5-824C-6A20C74145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3193" t="36106" r="58588" b="42157"/>
          <a:stretch/>
        </p:blipFill>
        <p:spPr>
          <a:xfrm>
            <a:off x="11099320" y="111868"/>
            <a:ext cx="854341" cy="465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047901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2C9E281-BD37-4AAF-9720-C6588AC8EF8D}"/>
              </a:ext>
            </a:extLst>
          </p:cNvPr>
          <p:cNvSpPr/>
          <p:nvPr userDrawn="1"/>
        </p:nvSpPr>
        <p:spPr>
          <a:xfrm>
            <a:off x="0" y="0"/>
            <a:ext cx="12192000" cy="70895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48856B5-2CC3-4257-BA03-CA4914638B97}"/>
              </a:ext>
            </a:extLst>
          </p:cNvPr>
          <p:cNvSpPr/>
          <p:nvPr userDrawn="1"/>
        </p:nvSpPr>
        <p:spPr>
          <a:xfrm>
            <a:off x="9426742" y="0"/>
            <a:ext cx="2772088" cy="70895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29FB32B0-460E-4C09-B2AC-5FEB5B6265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6238" t="48889" r="52310" b="46482"/>
          <a:stretch/>
        </p:blipFill>
        <p:spPr>
          <a:xfrm rot="16200000">
            <a:off x="9484401" y="-912797"/>
            <a:ext cx="708952" cy="2534546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1B94ABFF-9AA8-F646-8D7B-2EDEC0CE462C}"/>
              </a:ext>
            </a:extLst>
          </p:cNvPr>
          <p:cNvSpPr/>
          <p:nvPr/>
        </p:nvSpPr>
        <p:spPr>
          <a:xfrm flipH="1">
            <a:off x="263525" y="1016000"/>
            <a:ext cx="11664054" cy="49339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0" i="0" dirty="0">
                <a:latin typeface="Arial" panose="020B0604020202020204" pitchFamily="34" charset="0"/>
              </a:rPr>
              <a:t>   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72AC507-A219-884D-BFA1-632AB90CFA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08939" y="6371128"/>
            <a:ext cx="367791" cy="225138"/>
          </a:xfrm>
        </p:spPr>
        <p:txBody>
          <a:bodyPr wrap="none"/>
          <a:lstStyle/>
          <a:p>
            <a:fld id="{27CB02E0-2221-DD4C-989F-F8E3C1487BCA}" type="slidenum">
              <a:rPr lang="fr-FR" smtClean="0"/>
              <a:t>‹#›</a:t>
            </a:fld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94684B9-11E1-4549-B67C-F5B375CE69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963" y="169810"/>
            <a:ext cx="9928163" cy="369332"/>
          </a:xfrm>
          <a:noFill/>
          <a:effectLst/>
        </p:spPr>
        <p:txBody>
          <a:bodyPr wrap="none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noProof="0" dirty="0"/>
          </a:p>
        </p:txBody>
      </p:sp>
      <p:sp>
        <p:nvSpPr>
          <p:cNvPr id="11" name="Espace réservé du contenu 2">
            <a:extLst>
              <a:ext uri="{FF2B5EF4-FFF2-40B4-BE49-F238E27FC236}">
                <a16:creationId xmlns:a16="http://schemas.microsoft.com/office/drawing/2014/main" id="{2F720EA5-FC4A-435A-87FD-3A5D15CCBE6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1645" y="1160463"/>
            <a:ext cx="3599749" cy="4645024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/>
            </a:lvl3pPr>
          </a:lstStyle>
          <a:p>
            <a:pPr lvl="0"/>
            <a:r>
              <a:rPr lang="en-US" dirty="0"/>
              <a:t>Click to edit Master title </a:t>
            </a:r>
            <a:r>
              <a:rPr lang="en-US" noProof="0" dirty="0"/>
              <a:t>style</a:t>
            </a:r>
          </a:p>
          <a:p>
            <a:pPr lvl="1"/>
            <a:r>
              <a:rPr lang="en-US" dirty="0"/>
              <a:t>Second level</a:t>
            </a:r>
            <a:endParaRPr lang="en-US" noProof="0" dirty="0"/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12" name="Espace réservé du contenu 8">
            <a:extLst>
              <a:ext uri="{FF2B5EF4-FFF2-40B4-BE49-F238E27FC236}">
                <a16:creationId xmlns:a16="http://schemas.microsoft.com/office/drawing/2014/main" id="{09663DE3-4E0F-481F-A91B-2E56E7382D4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178799" y="1160463"/>
            <a:ext cx="3600000" cy="4645024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/>
            </a:lvl3pPr>
          </a:lstStyle>
          <a:p>
            <a:pPr lvl="0"/>
            <a:r>
              <a:rPr lang="en-US" dirty="0"/>
              <a:t>Click to edit Master title </a:t>
            </a:r>
            <a:r>
              <a:rPr lang="en-US" noProof="0" dirty="0"/>
              <a:t>style</a:t>
            </a:r>
          </a:p>
          <a:p>
            <a:pPr lvl="1"/>
            <a:r>
              <a:rPr lang="en-US" dirty="0"/>
              <a:t>Second level</a:t>
            </a:r>
            <a:endParaRPr lang="en-US" noProof="0" dirty="0"/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13" name="Espace réservé du contenu 9">
            <a:extLst>
              <a:ext uri="{FF2B5EF4-FFF2-40B4-BE49-F238E27FC236}">
                <a16:creationId xmlns:a16="http://schemas.microsoft.com/office/drawing/2014/main" id="{26A5BE1E-9081-4B59-AD4C-D0F5CD9D36D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301317" y="1160463"/>
            <a:ext cx="3600000" cy="4645025"/>
          </a:xfrm>
        </p:spPr>
        <p:txBody>
          <a:bodyPr>
            <a:noAutofit/>
          </a:bodyPr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/>
            </a:lvl3pPr>
          </a:lstStyle>
          <a:p>
            <a:pPr lvl="0"/>
            <a:r>
              <a:rPr lang="en-US" dirty="0"/>
              <a:t>Click to edit Master title </a:t>
            </a:r>
            <a:r>
              <a:rPr lang="en-US" noProof="0" dirty="0"/>
              <a:t>style</a:t>
            </a:r>
          </a:p>
          <a:p>
            <a:pPr lvl="1"/>
            <a:r>
              <a:rPr lang="en-US" dirty="0"/>
              <a:t>Second level</a:t>
            </a:r>
            <a:endParaRPr lang="en-US" noProof="0" dirty="0"/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DA5E79F3-FDF3-4DCF-8F22-3FC995E19B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21201" y="6375400"/>
            <a:ext cx="4114800" cy="225138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r">
              <a:defRPr sz="700" b="0" i="0">
                <a:solidFill>
                  <a:srgbClr val="646363"/>
                </a:solidFill>
                <a:latin typeface="Avenir Light" panose="020B0402020203020204" pitchFamily="34" charset="77"/>
              </a:defRPr>
            </a:lvl1pPr>
          </a:lstStyle>
          <a:p>
            <a:r>
              <a:rPr lang="fr-FR" dirty="0"/>
              <a:t>© SBM Offshore 2023. All </a:t>
            </a:r>
            <a:r>
              <a:rPr lang="fr-FR" dirty="0" err="1"/>
              <a:t>rights</a:t>
            </a:r>
            <a:r>
              <a:rPr lang="fr-FR" dirty="0"/>
              <a:t> </a:t>
            </a:r>
            <a:r>
              <a:rPr lang="fr-FR" dirty="0" err="1"/>
              <a:t>reserved</a:t>
            </a:r>
            <a:r>
              <a:rPr lang="fr-FR" dirty="0"/>
              <a:t>. www.sbmoffshore.com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911550E8-6246-4D8F-B05B-9BC565836B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3193" t="36106" r="58588" b="42157"/>
          <a:stretch/>
        </p:blipFill>
        <p:spPr>
          <a:xfrm>
            <a:off x="11099320" y="111868"/>
            <a:ext cx="854341" cy="465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314535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ul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346CC35-015D-4581-B401-0E295B860992}"/>
              </a:ext>
            </a:extLst>
          </p:cNvPr>
          <p:cNvSpPr/>
          <p:nvPr userDrawn="1"/>
        </p:nvSpPr>
        <p:spPr>
          <a:xfrm>
            <a:off x="0" y="0"/>
            <a:ext cx="12192000" cy="70895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71157EC-E3C9-4153-AF57-BBB3F6CEC671}"/>
              </a:ext>
            </a:extLst>
          </p:cNvPr>
          <p:cNvSpPr/>
          <p:nvPr userDrawn="1"/>
        </p:nvSpPr>
        <p:spPr>
          <a:xfrm>
            <a:off x="9426742" y="0"/>
            <a:ext cx="2772088" cy="70895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29C2C24B-8BC3-4FBC-994E-7D3F2A50D3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6238" t="48889" r="52310" b="46482"/>
          <a:stretch/>
        </p:blipFill>
        <p:spPr>
          <a:xfrm rot="16200000">
            <a:off x="9484401" y="-912797"/>
            <a:ext cx="708952" cy="2534546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1B94ABFF-9AA8-F646-8D7B-2EDEC0CE462C}"/>
              </a:ext>
            </a:extLst>
          </p:cNvPr>
          <p:cNvSpPr/>
          <p:nvPr/>
        </p:nvSpPr>
        <p:spPr>
          <a:xfrm flipH="1">
            <a:off x="263525" y="1016000"/>
            <a:ext cx="11664054" cy="49339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0" i="0" dirty="0">
                <a:latin typeface="Arial" panose="020B0604020202020204" pitchFamily="34" charset="0"/>
              </a:rPr>
              <a:t>   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94684B9-11E1-4549-B67C-F5B375CE69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964" y="169810"/>
            <a:ext cx="9822886" cy="369332"/>
          </a:xfrm>
          <a:noFill/>
          <a:effectLst/>
        </p:spPr>
        <p:txBody>
          <a:bodyPr wrap="none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noProof="0" dirty="0"/>
          </a:p>
        </p:txBody>
      </p:sp>
      <p:sp>
        <p:nvSpPr>
          <p:cNvPr id="11" name="Espace réservé du contenu 2">
            <a:extLst>
              <a:ext uri="{FF2B5EF4-FFF2-40B4-BE49-F238E27FC236}">
                <a16:creationId xmlns:a16="http://schemas.microsoft.com/office/drawing/2014/main" id="{ECD34B96-C015-421D-9944-520E33FC4EC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10493" y="1160464"/>
            <a:ext cx="5551138" cy="4645024"/>
          </a:xfrm>
        </p:spPr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/>
            </a:lvl3pPr>
          </a:lstStyle>
          <a:p>
            <a:pPr lvl="0"/>
            <a:r>
              <a:rPr lang="en-US" dirty="0"/>
              <a:t>Click to edit Master title </a:t>
            </a:r>
            <a:r>
              <a:rPr lang="en-US" noProof="0" dirty="0"/>
              <a:t>style</a:t>
            </a:r>
          </a:p>
          <a:p>
            <a:pPr lvl="1"/>
            <a:r>
              <a:rPr lang="en-US" dirty="0"/>
              <a:t>Second level</a:t>
            </a:r>
            <a:endParaRPr lang="en-US" noProof="0" dirty="0"/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12" name="Espace réservé du contenu 8">
            <a:extLst>
              <a:ext uri="{FF2B5EF4-FFF2-40B4-BE49-F238E27FC236}">
                <a16:creationId xmlns:a16="http://schemas.microsoft.com/office/drawing/2014/main" id="{7B0E46C7-75DB-4D34-9C75-47714891039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21035" y="1160464"/>
            <a:ext cx="5544543" cy="4645022"/>
          </a:xfrm>
        </p:spPr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/>
            </a:lvl3pPr>
          </a:lstStyle>
          <a:p>
            <a:pPr lvl="0"/>
            <a:r>
              <a:rPr lang="en-US" dirty="0"/>
              <a:t>Click to edit Master title </a:t>
            </a:r>
            <a:r>
              <a:rPr lang="en-US" noProof="0" dirty="0"/>
              <a:t>style</a:t>
            </a:r>
          </a:p>
          <a:p>
            <a:pPr lvl="1"/>
            <a:r>
              <a:rPr lang="en-US" dirty="0"/>
              <a:t>Second level</a:t>
            </a:r>
            <a:endParaRPr lang="en-US" noProof="0" dirty="0"/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id="{A14B42CE-B855-48D1-A95F-4EF313F078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08939" y="6371128"/>
            <a:ext cx="367791" cy="225138"/>
          </a:xfrm>
        </p:spPr>
        <p:txBody>
          <a:bodyPr wrap="none"/>
          <a:lstStyle/>
          <a:p>
            <a:fld id="{27CB02E0-2221-DD4C-989F-F8E3C1487BCA}" type="slidenum">
              <a:rPr lang="fr-FR" smtClean="0"/>
              <a:t>‹#›</a:t>
            </a:fld>
            <a:endParaRPr lang="fr-FR" dirty="0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6E9E5005-2F59-4AAE-B74C-E171C88374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21201" y="6375400"/>
            <a:ext cx="4114800" cy="225138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r">
              <a:defRPr sz="700" b="0" i="0">
                <a:solidFill>
                  <a:srgbClr val="646363"/>
                </a:solidFill>
                <a:latin typeface="Avenir Light" panose="020B0402020203020204" pitchFamily="34" charset="77"/>
              </a:defRPr>
            </a:lvl1pPr>
          </a:lstStyle>
          <a:p>
            <a:r>
              <a:rPr lang="fr-FR" dirty="0"/>
              <a:t>© SBM Offshore 2023. All </a:t>
            </a:r>
            <a:r>
              <a:rPr lang="fr-FR" dirty="0" err="1"/>
              <a:t>rights</a:t>
            </a:r>
            <a:r>
              <a:rPr lang="fr-FR" dirty="0"/>
              <a:t> </a:t>
            </a:r>
            <a:r>
              <a:rPr lang="fr-FR" dirty="0" err="1"/>
              <a:t>reserved</a:t>
            </a:r>
            <a:r>
              <a:rPr lang="fr-FR" dirty="0"/>
              <a:t>. www.sbmoffshore.com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4C9510AB-2303-4D97-8EF0-EA52D42DB9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3193" t="36106" r="58588" b="42157"/>
          <a:stretch/>
        </p:blipFill>
        <p:spPr>
          <a:xfrm>
            <a:off x="11099320" y="111868"/>
            <a:ext cx="854341" cy="465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64454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pour une image  16">
            <a:extLst>
              <a:ext uri="{FF2B5EF4-FFF2-40B4-BE49-F238E27FC236}">
                <a16:creationId xmlns:a16="http://schemas.microsoft.com/office/drawing/2014/main" id="{9B580751-2C05-E043-B034-3ABB664A240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6096000" cy="6858000"/>
          </a:xfrm>
          <a:solidFill>
            <a:schemeClr val="bg1"/>
          </a:solidFill>
        </p:spPr>
        <p:txBody>
          <a:bodyPr/>
          <a:lstStyle>
            <a:lvl1pPr>
              <a:buClr>
                <a:schemeClr val="tx2"/>
              </a:buClr>
              <a:defRPr/>
            </a:lvl1pPr>
          </a:lstStyle>
          <a:p>
            <a:r>
              <a:rPr lang="fr-FR" dirty="0"/>
              <a:t>Click on the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an imag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180210E-5FD2-4246-9AA0-9254FC5D3E16}"/>
              </a:ext>
            </a:extLst>
          </p:cNvPr>
          <p:cNvSpPr/>
          <p:nvPr userDrawn="1"/>
        </p:nvSpPr>
        <p:spPr>
          <a:xfrm flipH="1">
            <a:off x="6348044" y="0"/>
            <a:ext cx="584395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0" i="0">
                <a:latin typeface="Arial" panose="020B0604020202020204" pitchFamily="34" charset="0"/>
              </a:rPr>
              <a:t>   </a:t>
            </a:r>
            <a:endParaRPr lang="fr-FR" b="0" i="0" dirty="0">
              <a:latin typeface="Arial" panose="020B0604020202020204" pitchFamily="34" charset="0"/>
            </a:endParaRP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7A10A562-FB6C-DE4C-8844-1B86787EB3B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32849" y="6221972"/>
            <a:ext cx="1894297" cy="383979"/>
          </a:xfrm>
          <a:prstGeom prst="rect">
            <a:avLst/>
          </a:prstGeom>
        </p:spPr>
      </p:pic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FBFBAE01-699E-334F-BDB2-AE5B29FE456B}"/>
              </a:ext>
            </a:extLst>
          </p:cNvPr>
          <p:cNvCxnSpPr/>
          <p:nvPr/>
        </p:nvCxnSpPr>
        <p:spPr>
          <a:xfrm>
            <a:off x="7052982" y="5967319"/>
            <a:ext cx="4222377" cy="0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D2A87FC8-0694-8D4D-B20E-FA0C0B564119}"/>
              </a:ext>
            </a:extLst>
          </p:cNvPr>
          <p:cNvSpPr/>
          <p:nvPr/>
        </p:nvSpPr>
        <p:spPr>
          <a:xfrm>
            <a:off x="6096000" y="0"/>
            <a:ext cx="252046" cy="6858000"/>
          </a:xfrm>
          <a:prstGeom prst="rect">
            <a:avLst/>
          </a:prstGeom>
          <a:solidFill>
            <a:srgbClr val="F6F6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="0" i="0" dirty="0">
              <a:latin typeface="Arial" panose="020B0604020202020204" pitchFamily="34" charset="0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1E133C7-FC5F-4584-AA86-C1845322FC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192" t="36106" r="5502" b="42157"/>
          <a:stretch/>
        </p:blipFill>
        <p:spPr>
          <a:xfrm>
            <a:off x="6696706" y="2813049"/>
            <a:ext cx="5400677" cy="1231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8750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Afbeelding 10">
            <a:extLst>
              <a:ext uri="{FF2B5EF4-FFF2-40B4-BE49-F238E27FC236}">
                <a16:creationId xmlns:a16="http://schemas.microsoft.com/office/drawing/2014/main" id="{A9186913-E004-994A-801B-2D61B98889B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673" y="416699"/>
            <a:ext cx="11682326" cy="5587200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>
          <a:xfrm>
            <a:off x="0" y="6812282"/>
            <a:ext cx="12192000" cy="45719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23" name="Title 13"/>
          <p:cNvSpPr>
            <a:spLocks noGrp="1"/>
          </p:cNvSpPr>
          <p:nvPr>
            <p:ph type="title" hasCustomPrompt="1"/>
          </p:nvPr>
        </p:nvSpPr>
        <p:spPr>
          <a:xfrm>
            <a:off x="378390" y="1769"/>
            <a:ext cx="7989904" cy="756112"/>
          </a:xfrm>
          <a:prstGeom prst="rect">
            <a:avLst/>
          </a:prstGeom>
        </p:spPr>
        <p:txBody>
          <a:bodyPr anchor="ctr" anchorCtr="0"/>
          <a:lstStyle>
            <a:lvl1pPr algn="l">
              <a:defRPr sz="2533" b="0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 subtitle</a:t>
            </a:r>
          </a:p>
        </p:txBody>
      </p:sp>
      <p:sp>
        <p:nvSpPr>
          <p:cNvPr id="14" name="Slide Number Placeholder 8">
            <a:extLst>
              <a:ext uri="{FF2B5EF4-FFF2-40B4-BE49-F238E27FC236}">
                <a16:creationId xmlns:a16="http://schemas.microsoft.com/office/drawing/2014/main" id="{82E77D56-3161-E548-A787-ADE5E318DAE4}"/>
              </a:ext>
            </a:extLst>
          </p:cNvPr>
          <p:cNvSpPr txBox="1">
            <a:spLocks/>
          </p:cNvSpPr>
          <p:nvPr userDrawn="1"/>
        </p:nvSpPr>
        <p:spPr>
          <a:xfrm>
            <a:off x="11441076" y="6420597"/>
            <a:ext cx="593060" cy="213471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rgbClr val="F56E23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r">
              <a:defRPr/>
            </a:pPr>
            <a:fld id="{31C852F3-457B-4BE9-ABEB-ADBE99B21990}" type="slidenum">
              <a:rPr lang="en-US" sz="1200" smtClean="0">
                <a:solidFill>
                  <a:srgbClr val="646464"/>
                </a:solidFill>
              </a:rPr>
              <a:pPr algn="r">
                <a:defRPr/>
              </a:pPr>
              <a:t>‹#›</a:t>
            </a:fld>
            <a:endParaRPr lang="en-US" sz="1200" dirty="0">
              <a:solidFill>
                <a:srgbClr val="646464"/>
              </a:solidFill>
            </a:endParaRP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357A99DA-550A-C741-B97D-688508D24B6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19200" y="1170918"/>
            <a:ext cx="9652000" cy="4523764"/>
          </a:xfrm>
          <a:prstGeom prst="rect">
            <a:avLst/>
          </a:prstGeom>
        </p:spPr>
        <p:txBody>
          <a:bodyPr/>
          <a:lstStyle>
            <a:lvl1pPr marL="457189" indent="-457189">
              <a:buClr>
                <a:srgbClr val="F56E23"/>
              </a:buClr>
              <a:buFontTx/>
              <a:buBlip>
                <a:blip r:embed="rId3"/>
              </a:buBlip>
              <a:defRPr sz="2400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1pPr>
            <a:lvl2pPr marL="1066773" indent="-457189">
              <a:buClr>
                <a:srgbClr val="F56E23"/>
              </a:buClr>
              <a:buFont typeface="Arial" pitchFamily="34" charset="0"/>
              <a:buChar char="•"/>
              <a:defRPr sz="2133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2pPr>
            <a:lvl3pPr marL="1676358" indent="-457189">
              <a:buClr>
                <a:srgbClr val="F56E23"/>
              </a:buClr>
              <a:buFont typeface="Arial" pitchFamily="34" charset="0"/>
              <a:buChar char="•"/>
              <a:defRPr sz="2000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3pPr>
            <a:lvl4pPr marL="2285943" indent="-457189">
              <a:buClr>
                <a:srgbClr val="F56E23"/>
              </a:buClr>
              <a:buFont typeface="Arial" pitchFamily="34" charset="0"/>
              <a:buChar char="•"/>
              <a:defRPr sz="1867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4pPr>
            <a:lvl5pPr marL="2895528" indent="-457189">
              <a:buClr>
                <a:srgbClr val="F56E23"/>
              </a:buClr>
              <a:buFont typeface="Arial" pitchFamily="34" charset="0"/>
              <a:buChar char="•"/>
              <a:defRPr sz="1867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B107069F-37A2-764C-B7D1-9F65E570E8A2}"/>
              </a:ext>
            </a:extLst>
          </p:cNvPr>
          <p:cNvSpPr txBox="1"/>
          <p:nvPr userDrawn="1"/>
        </p:nvSpPr>
        <p:spPr>
          <a:xfrm>
            <a:off x="4302591" y="6429539"/>
            <a:ext cx="3701378" cy="400110"/>
          </a:xfrm>
          <a:prstGeom prst="rect">
            <a:avLst/>
          </a:prstGeom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1000" kern="1200" dirty="0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© SBM Offshore 2021. </a:t>
            </a:r>
            <a:r>
              <a:rPr lang="nl-NL" sz="1000" kern="1200" dirty="0" err="1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All</a:t>
            </a:r>
            <a:r>
              <a:rPr lang="nl-NL" sz="1000" kern="1200" dirty="0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000" kern="1200" dirty="0" err="1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rights</a:t>
            </a:r>
            <a:r>
              <a:rPr lang="nl-NL" sz="1000" kern="1200" dirty="0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000" kern="1200" dirty="0" err="1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reserved</a:t>
            </a:r>
            <a:r>
              <a:rPr lang="nl-NL" sz="1000" kern="1200" dirty="0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nl-NL" sz="1000" kern="1200" dirty="0" err="1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www.sbmoffshore.com</a:t>
            </a:r>
            <a:endParaRPr lang="nl-NL" sz="1000" kern="1200" dirty="0">
              <a:solidFill>
                <a:srgbClr val="646464"/>
              </a:solidFill>
              <a:effectLst/>
              <a:latin typeface="+mn-lt"/>
              <a:ea typeface="+mn-ea"/>
              <a:cs typeface="+mn-cs"/>
            </a:endParaRPr>
          </a:p>
          <a:p>
            <a:endParaRPr lang="nl-NL" sz="1000" dirty="0">
              <a:solidFill>
                <a:srgbClr val="646464"/>
              </a:solidFill>
            </a:endParaRPr>
          </a:p>
        </p:txBody>
      </p:sp>
      <p:pic>
        <p:nvPicPr>
          <p:cNvPr id="8" name="Afbeelding 7" descr="Afbeelding met tekening&#10;&#10;Automatisch gegenereerde beschrijving">
            <a:extLst>
              <a:ext uri="{FF2B5EF4-FFF2-40B4-BE49-F238E27FC236}">
                <a16:creationId xmlns:a16="http://schemas.microsoft.com/office/drawing/2014/main" id="{184DE1BB-1295-AF4B-A517-3DC08D7EDE2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005" y="6224275"/>
            <a:ext cx="721729" cy="385200"/>
          </a:xfrm>
          <a:prstGeom prst="rect">
            <a:avLst/>
          </a:prstGeom>
        </p:spPr>
      </p:pic>
      <p:sp>
        <p:nvSpPr>
          <p:cNvPr id="10" name="Rechthoek 9">
            <a:extLst>
              <a:ext uri="{FF2B5EF4-FFF2-40B4-BE49-F238E27FC236}">
                <a16:creationId xmlns:a16="http://schemas.microsoft.com/office/drawing/2014/main" id="{2D487FBF-E76C-3747-9C2E-3A1193AD75B7}"/>
              </a:ext>
            </a:extLst>
          </p:cNvPr>
          <p:cNvSpPr/>
          <p:nvPr userDrawn="1"/>
        </p:nvSpPr>
        <p:spPr>
          <a:xfrm>
            <a:off x="249005" y="248525"/>
            <a:ext cx="129385" cy="262845"/>
          </a:xfrm>
          <a:prstGeom prst="rect">
            <a:avLst/>
          </a:prstGeom>
          <a:solidFill>
            <a:srgbClr val="F56E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360558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39639" y="1170918"/>
            <a:ext cx="5103376" cy="4516164"/>
          </a:xfrm>
          <a:prstGeom prst="rect">
            <a:avLst/>
          </a:prstGeom>
        </p:spPr>
        <p:txBody>
          <a:bodyPr/>
          <a:lstStyle>
            <a:lvl1pPr marL="457189" indent="-457189">
              <a:buClr>
                <a:srgbClr val="F56E23"/>
              </a:buClr>
              <a:buFontTx/>
              <a:buBlip>
                <a:blip r:embed="rId2"/>
              </a:buBlip>
              <a:defRPr sz="2400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1pPr>
            <a:lvl2pPr marL="1066773" indent="-457189">
              <a:buClr>
                <a:srgbClr val="F56E23"/>
              </a:buClr>
              <a:buFont typeface="Arial" pitchFamily="34" charset="0"/>
              <a:buChar char="•"/>
              <a:defRPr sz="2133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2pPr>
            <a:lvl3pPr marL="1676358" indent="-457189">
              <a:buClr>
                <a:srgbClr val="F56E23"/>
              </a:buClr>
              <a:buFont typeface="Arial" pitchFamily="34" charset="0"/>
              <a:buChar char="•"/>
              <a:defRPr sz="2000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3pPr>
            <a:lvl4pPr marL="2285943" indent="-457189">
              <a:buClr>
                <a:srgbClr val="F56E23"/>
              </a:buClr>
              <a:buFont typeface="Arial" pitchFamily="34" charset="0"/>
              <a:buChar char="•"/>
              <a:defRPr sz="1867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4pPr>
            <a:lvl5pPr marL="2895528" indent="-457189">
              <a:buClr>
                <a:srgbClr val="F56E23"/>
              </a:buClr>
              <a:buFont typeface="Arial" pitchFamily="34" charset="0"/>
              <a:buChar char="•"/>
              <a:defRPr sz="1867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Slide Number Placeholder 8"/>
          <p:cNvSpPr txBox="1">
            <a:spLocks/>
          </p:cNvSpPr>
          <p:nvPr userDrawn="1"/>
        </p:nvSpPr>
        <p:spPr>
          <a:xfrm>
            <a:off x="11441076" y="6420597"/>
            <a:ext cx="593060" cy="213471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rgbClr val="F56E23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r">
              <a:defRPr/>
            </a:pPr>
            <a:fld id="{31C852F3-457B-4BE9-ABEB-ADBE99B21990}" type="slidenum">
              <a:rPr lang="en-US" sz="1200" smtClean="0">
                <a:solidFill>
                  <a:srgbClr val="646464"/>
                </a:solidFill>
              </a:rPr>
              <a:pPr algn="r">
                <a:defRPr/>
              </a:pPr>
              <a:t>‹#›</a:t>
            </a:fld>
            <a:endParaRPr lang="en-US" sz="1200" dirty="0">
              <a:solidFill>
                <a:srgbClr val="646464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0" y="6812282"/>
            <a:ext cx="12192000" cy="45719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4"/>
          </p:nvPr>
        </p:nvSpPr>
        <p:spPr>
          <a:xfrm>
            <a:off x="5708364" y="1170918"/>
            <a:ext cx="5988051" cy="4523764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11" name="Title 13">
            <a:extLst>
              <a:ext uri="{FF2B5EF4-FFF2-40B4-BE49-F238E27FC236}">
                <a16:creationId xmlns:a16="http://schemas.microsoft.com/office/drawing/2014/main" id="{7569BC0C-8F67-2948-8F1C-A7C90EC7A2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390" y="1769"/>
            <a:ext cx="7989904" cy="756112"/>
          </a:xfrm>
          <a:prstGeom prst="rect">
            <a:avLst/>
          </a:prstGeom>
        </p:spPr>
        <p:txBody>
          <a:bodyPr anchor="ctr" anchorCtr="0"/>
          <a:lstStyle>
            <a:lvl1pPr algn="l">
              <a:defRPr sz="2533" b="0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 subtitle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2C164CBD-19B2-E045-9DDE-DCE8096092A0}"/>
              </a:ext>
            </a:extLst>
          </p:cNvPr>
          <p:cNvSpPr txBox="1"/>
          <p:nvPr userDrawn="1"/>
        </p:nvSpPr>
        <p:spPr>
          <a:xfrm>
            <a:off x="4302591" y="6429539"/>
            <a:ext cx="3701378" cy="400110"/>
          </a:xfrm>
          <a:prstGeom prst="rect">
            <a:avLst/>
          </a:prstGeom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1000" kern="1200" dirty="0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© SBM Offshore 2021. </a:t>
            </a:r>
            <a:r>
              <a:rPr lang="nl-NL" sz="1000" kern="1200" dirty="0" err="1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All</a:t>
            </a:r>
            <a:r>
              <a:rPr lang="nl-NL" sz="1000" kern="1200" dirty="0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000" kern="1200" dirty="0" err="1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rights</a:t>
            </a:r>
            <a:r>
              <a:rPr lang="nl-NL" sz="1000" kern="1200" dirty="0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000" kern="1200" dirty="0" err="1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reserved</a:t>
            </a:r>
            <a:r>
              <a:rPr lang="nl-NL" sz="1000" kern="1200" dirty="0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nl-NL" sz="1000" kern="1200" dirty="0" err="1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www.sbmoffshore.com</a:t>
            </a:r>
            <a:endParaRPr lang="nl-NL" sz="1000" kern="1200" dirty="0">
              <a:solidFill>
                <a:srgbClr val="646464"/>
              </a:solidFill>
              <a:effectLst/>
              <a:latin typeface="+mn-lt"/>
              <a:ea typeface="+mn-ea"/>
              <a:cs typeface="+mn-cs"/>
            </a:endParaRPr>
          </a:p>
          <a:p>
            <a:endParaRPr lang="nl-NL" sz="1000" dirty="0">
              <a:solidFill>
                <a:srgbClr val="646464"/>
              </a:solidFill>
            </a:endParaRPr>
          </a:p>
        </p:txBody>
      </p:sp>
      <p:pic>
        <p:nvPicPr>
          <p:cNvPr id="10" name="Afbeelding 9" descr="Afbeelding met tekening&#10;&#10;Automatisch gegenereerde beschrijving">
            <a:extLst>
              <a:ext uri="{FF2B5EF4-FFF2-40B4-BE49-F238E27FC236}">
                <a16:creationId xmlns:a16="http://schemas.microsoft.com/office/drawing/2014/main" id="{FEA05C0A-671E-104A-A772-6402701E8D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005" y="6224275"/>
            <a:ext cx="721729" cy="385200"/>
          </a:xfrm>
          <a:prstGeom prst="rect">
            <a:avLst/>
          </a:prstGeom>
        </p:spPr>
      </p:pic>
      <p:sp>
        <p:nvSpPr>
          <p:cNvPr id="13" name="Rechthoek 12">
            <a:extLst>
              <a:ext uri="{FF2B5EF4-FFF2-40B4-BE49-F238E27FC236}">
                <a16:creationId xmlns:a16="http://schemas.microsoft.com/office/drawing/2014/main" id="{65AB2814-D4B1-6747-9414-8B132CFD4003}"/>
              </a:ext>
            </a:extLst>
          </p:cNvPr>
          <p:cNvSpPr/>
          <p:nvPr userDrawn="1"/>
        </p:nvSpPr>
        <p:spPr>
          <a:xfrm>
            <a:off x="249005" y="248525"/>
            <a:ext cx="129385" cy="262845"/>
          </a:xfrm>
          <a:prstGeom prst="rect">
            <a:avLst/>
          </a:prstGeom>
          <a:solidFill>
            <a:srgbClr val="F56E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899337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kstvak 12">
            <a:extLst>
              <a:ext uri="{FF2B5EF4-FFF2-40B4-BE49-F238E27FC236}">
                <a16:creationId xmlns:a16="http://schemas.microsoft.com/office/drawing/2014/main" id="{01B07982-FBA2-5B49-8DE3-5930F5FC15EA}"/>
              </a:ext>
            </a:extLst>
          </p:cNvPr>
          <p:cNvSpPr txBox="1"/>
          <p:nvPr userDrawn="1"/>
        </p:nvSpPr>
        <p:spPr>
          <a:xfrm>
            <a:off x="4302591" y="6429539"/>
            <a:ext cx="3701378" cy="400110"/>
          </a:xfrm>
          <a:prstGeom prst="rect">
            <a:avLst/>
          </a:prstGeom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1000" kern="1200" dirty="0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© SBM Offshore 2021. </a:t>
            </a:r>
            <a:r>
              <a:rPr lang="nl-NL" sz="1000" kern="1200" dirty="0" err="1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All</a:t>
            </a:r>
            <a:r>
              <a:rPr lang="nl-NL" sz="1000" kern="1200" dirty="0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000" kern="1200" dirty="0" err="1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rights</a:t>
            </a:r>
            <a:r>
              <a:rPr lang="nl-NL" sz="1000" kern="1200" dirty="0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000" kern="1200" dirty="0" err="1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reserved</a:t>
            </a:r>
            <a:r>
              <a:rPr lang="nl-NL" sz="1000" kern="1200" dirty="0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nl-NL" sz="1000" kern="1200" dirty="0" err="1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www.sbmoffshore.com</a:t>
            </a:r>
            <a:endParaRPr lang="nl-NL" sz="1000" kern="1200" dirty="0">
              <a:solidFill>
                <a:srgbClr val="646464"/>
              </a:solidFill>
              <a:effectLst/>
              <a:latin typeface="+mn-lt"/>
              <a:ea typeface="+mn-ea"/>
              <a:cs typeface="+mn-cs"/>
            </a:endParaRPr>
          </a:p>
          <a:p>
            <a:endParaRPr lang="nl-NL" sz="1000" dirty="0">
              <a:solidFill>
                <a:srgbClr val="646464"/>
              </a:solidFill>
            </a:endParaRPr>
          </a:p>
        </p:txBody>
      </p:sp>
      <p:pic>
        <p:nvPicPr>
          <p:cNvPr id="4" name="Afbeelding 7" descr="Afbeelding met tekening&#10;&#10;Automatisch gegenereerde beschrijving">
            <a:extLst>
              <a:ext uri="{FF2B5EF4-FFF2-40B4-BE49-F238E27FC236}">
                <a16:creationId xmlns:a16="http://schemas.microsoft.com/office/drawing/2014/main" id="{184DE1BB-1295-AF4B-A517-3DC08D7EDE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005" y="6224275"/>
            <a:ext cx="721729" cy="385200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0" y="6812282"/>
            <a:ext cx="12192000" cy="45719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6826938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6812282"/>
            <a:ext cx="12192000" cy="45719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23" name="Title 13"/>
          <p:cNvSpPr>
            <a:spLocks noGrp="1"/>
          </p:cNvSpPr>
          <p:nvPr>
            <p:ph type="title" hasCustomPrompt="1"/>
          </p:nvPr>
        </p:nvSpPr>
        <p:spPr>
          <a:xfrm>
            <a:off x="378390" y="1769"/>
            <a:ext cx="7989904" cy="756112"/>
          </a:xfrm>
          <a:prstGeom prst="rect">
            <a:avLst/>
          </a:prstGeom>
        </p:spPr>
        <p:txBody>
          <a:bodyPr anchor="ctr" anchorCtr="0"/>
          <a:lstStyle>
            <a:lvl1pPr algn="l">
              <a:defRPr sz="2533" b="0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 subtitle</a:t>
            </a:r>
          </a:p>
        </p:txBody>
      </p:sp>
      <p:sp>
        <p:nvSpPr>
          <p:cNvPr id="14" name="Slide Number Placeholder 8">
            <a:extLst>
              <a:ext uri="{FF2B5EF4-FFF2-40B4-BE49-F238E27FC236}">
                <a16:creationId xmlns:a16="http://schemas.microsoft.com/office/drawing/2014/main" id="{82E77D56-3161-E548-A787-ADE5E318DAE4}"/>
              </a:ext>
            </a:extLst>
          </p:cNvPr>
          <p:cNvSpPr txBox="1">
            <a:spLocks/>
          </p:cNvSpPr>
          <p:nvPr userDrawn="1"/>
        </p:nvSpPr>
        <p:spPr>
          <a:xfrm>
            <a:off x="11441076" y="6420597"/>
            <a:ext cx="593060" cy="213471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rgbClr val="F56E23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r">
              <a:defRPr/>
            </a:pPr>
            <a:fld id="{31C852F3-457B-4BE9-ABEB-ADBE99B21990}" type="slidenum">
              <a:rPr lang="en-US" sz="1200" smtClean="0">
                <a:solidFill>
                  <a:srgbClr val="646464"/>
                </a:solidFill>
              </a:rPr>
              <a:pPr algn="r">
                <a:defRPr/>
              </a:pPr>
              <a:t>‹#›</a:t>
            </a:fld>
            <a:endParaRPr lang="en-US" sz="1200" dirty="0">
              <a:solidFill>
                <a:srgbClr val="646464"/>
              </a:solidFill>
            </a:endParaRP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357A99DA-550A-C741-B97D-688508D24B6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19200" y="1170918"/>
            <a:ext cx="9652000" cy="4523764"/>
          </a:xfrm>
          <a:prstGeom prst="rect">
            <a:avLst/>
          </a:prstGeom>
        </p:spPr>
        <p:txBody>
          <a:bodyPr/>
          <a:lstStyle>
            <a:lvl1pPr marL="457189" indent="-457189">
              <a:buClr>
                <a:srgbClr val="F56E23"/>
              </a:buClr>
              <a:buFontTx/>
              <a:buBlip>
                <a:blip r:embed="rId2"/>
              </a:buBlip>
              <a:defRPr sz="2400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1pPr>
            <a:lvl2pPr marL="1066773" indent="-457189">
              <a:buClr>
                <a:srgbClr val="F56E23"/>
              </a:buClr>
              <a:buFont typeface="Arial" pitchFamily="34" charset="0"/>
              <a:buChar char="•"/>
              <a:defRPr sz="2133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2pPr>
            <a:lvl3pPr marL="1676358" indent="-457189">
              <a:buClr>
                <a:srgbClr val="F56E23"/>
              </a:buClr>
              <a:buFont typeface="Arial" pitchFamily="34" charset="0"/>
              <a:buChar char="•"/>
              <a:defRPr sz="2000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3pPr>
            <a:lvl4pPr marL="2285943" indent="-457189">
              <a:buClr>
                <a:srgbClr val="F56E23"/>
              </a:buClr>
              <a:buFont typeface="Arial" pitchFamily="34" charset="0"/>
              <a:buChar char="•"/>
              <a:defRPr sz="1867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4pPr>
            <a:lvl5pPr marL="2895528" indent="-457189">
              <a:buClr>
                <a:srgbClr val="F56E23"/>
              </a:buClr>
              <a:buFont typeface="Arial" pitchFamily="34" charset="0"/>
              <a:buChar char="•"/>
              <a:defRPr sz="1867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F387B7B6-4E0D-164D-B98B-2A1B42E8F321}"/>
              </a:ext>
            </a:extLst>
          </p:cNvPr>
          <p:cNvSpPr txBox="1"/>
          <p:nvPr userDrawn="1"/>
        </p:nvSpPr>
        <p:spPr>
          <a:xfrm>
            <a:off x="4302591" y="6429539"/>
            <a:ext cx="3701378" cy="400110"/>
          </a:xfrm>
          <a:prstGeom prst="rect">
            <a:avLst/>
          </a:prstGeom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1000" kern="1200" dirty="0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© SBM Offshore 2021. </a:t>
            </a:r>
            <a:r>
              <a:rPr lang="nl-NL" sz="1000" kern="1200" dirty="0" err="1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All</a:t>
            </a:r>
            <a:r>
              <a:rPr lang="nl-NL" sz="1000" kern="1200" dirty="0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000" kern="1200" dirty="0" err="1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rights</a:t>
            </a:r>
            <a:r>
              <a:rPr lang="nl-NL" sz="1000" kern="1200" dirty="0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000" kern="1200" dirty="0" err="1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reserved</a:t>
            </a:r>
            <a:r>
              <a:rPr lang="nl-NL" sz="1000" kern="1200" dirty="0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nl-NL" sz="1000" kern="1200" dirty="0" err="1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www.sbmoffshore.com</a:t>
            </a:r>
            <a:endParaRPr lang="nl-NL" sz="1000" kern="1200" dirty="0">
              <a:solidFill>
                <a:srgbClr val="646464"/>
              </a:solidFill>
              <a:effectLst/>
              <a:latin typeface="+mn-lt"/>
              <a:ea typeface="+mn-ea"/>
              <a:cs typeface="+mn-cs"/>
            </a:endParaRPr>
          </a:p>
          <a:p>
            <a:endParaRPr lang="nl-NL" sz="1000" dirty="0">
              <a:solidFill>
                <a:srgbClr val="646464"/>
              </a:solidFill>
            </a:endParaRPr>
          </a:p>
        </p:txBody>
      </p:sp>
      <p:pic>
        <p:nvPicPr>
          <p:cNvPr id="8" name="Afbeelding 7" descr="Afbeelding met tekening&#10;&#10;Automatisch gegenereerde beschrijving">
            <a:extLst>
              <a:ext uri="{FF2B5EF4-FFF2-40B4-BE49-F238E27FC236}">
                <a16:creationId xmlns:a16="http://schemas.microsoft.com/office/drawing/2014/main" id="{113AC6AC-7203-7542-9BF7-3075F1570A8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005" y="6224275"/>
            <a:ext cx="721729" cy="385200"/>
          </a:xfrm>
          <a:prstGeom prst="rect">
            <a:avLst/>
          </a:prstGeom>
        </p:spPr>
      </p:pic>
      <p:sp>
        <p:nvSpPr>
          <p:cNvPr id="10" name="Rechthoek 9">
            <a:extLst>
              <a:ext uri="{FF2B5EF4-FFF2-40B4-BE49-F238E27FC236}">
                <a16:creationId xmlns:a16="http://schemas.microsoft.com/office/drawing/2014/main" id="{444227CA-2897-6D44-B170-6BDB34D18F50}"/>
              </a:ext>
            </a:extLst>
          </p:cNvPr>
          <p:cNvSpPr/>
          <p:nvPr userDrawn="1"/>
        </p:nvSpPr>
        <p:spPr>
          <a:xfrm>
            <a:off x="249005" y="248525"/>
            <a:ext cx="129385" cy="262845"/>
          </a:xfrm>
          <a:prstGeom prst="rect">
            <a:avLst/>
          </a:prstGeom>
          <a:solidFill>
            <a:srgbClr val="F56E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800965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39639" y="1170918"/>
            <a:ext cx="5103376" cy="4516164"/>
          </a:xfrm>
          <a:prstGeom prst="rect">
            <a:avLst/>
          </a:prstGeom>
        </p:spPr>
        <p:txBody>
          <a:bodyPr/>
          <a:lstStyle>
            <a:lvl1pPr marL="457189" indent="-457189">
              <a:buClr>
                <a:srgbClr val="F56E23"/>
              </a:buClr>
              <a:buFontTx/>
              <a:buBlip>
                <a:blip r:embed="rId2"/>
              </a:buBlip>
              <a:defRPr sz="2400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1pPr>
            <a:lvl2pPr marL="1066773" indent="-457189">
              <a:buClr>
                <a:srgbClr val="F56E23"/>
              </a:buClr>
              <a:buFont typeface="Arial" pitchFamily="34" charset="0"/>
              <a:buChar char="•"/>
              <a:defRPr sz="2133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2pPr>
            <a:lvl3pPr marL="1676358" indent="-457189">
              <a:buClr>
                <a:srgbClr val="F56E23"/>
              </a:buClr>
              <a:buFont typeface="Arial" pitchFamily="34" charset="0"/>
              <a:buChar char="•"/>
              <a:defRPr sz="2000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3pPr>
            <a:lvl4pPr marL="2285943" indent="-457189">
              <a:buClr>
                <a:srgbClr val="F56E23"/>
              </a:buClr>
              <a:buFont typeface="Arial" pitchFamily="34" charset="0"/>
              <a:buChar char="•"/>
              <a:defRPr sz="1867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4pPr>
            <a:lvl5pPr marL="2895528" indent="-457189">
              <a:buClr>
                <a:srgbClr val="F56E23"/>
              </a:buClr>
              <a:buFont typeface="Arial" pitchFamily="34" charset="0"/>
              <a:buChar char="•"/>
              <a:defRPr sz="1867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Slide Number Placeholder 8"/>
          <p:cNvSpPr txBox="1">
            <a:spLocks/>
          </p:cNvSpPr>
          <p:nvPr userDrawn="1"/>
        </p:nvSpPr>
        <p:spPr>
          <a:xfrm>
            <a:off x="11441076" y="6420597"/>
            <a:ext cx="593060" cy="213471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rgbClr val="F56E23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r">
              <a:defRPr/>
            </a:pPr>
            <a:fld id="{31C852F3-457B-4BE9-ABEB-ADBE99B21990}" type="slidenum">
              <a:rPr lang="en-US" sz="1200" smtClean="0">
                <a:solidFill>
                  <a:srgbClr val="646464"/>
                </a:solidFill>
              </a:rPr>
              <a:pPr algn="r">
                <a:defRPr/>
              </a:pPr>
              <a:t>‹#›</a:t>
            </a:fld>
            <a:endParaRPr lang="en-US" sz="1200" dirty="0">
              <a:solidFill>
                <a:srgbClr val="646464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0" y="6812282"/>
            <a:ext cx="12192000" cy="45719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4"/>
          </p:nvPr>
        </p:nvSpPr>
        <p:spPr>
          <a:xfrm>
            <a:off x="5708364" y="1170918"/>
            <a:ext cx="5988051" cy="4523764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11" name="Title 13">
            <a:extLst>
              <a:ext uri="{FF2B5EF4-FFF2-40B4-BE49-F238E27FC236}">
                <a16:creationId xmlns:a16="http://schemas.microsoft.com/office/drawing/2014/main" id="{7569BC0C-8F67-2948-8F1C-A7C90EC7A2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390" y="1769"/>
            <a:ext cx="7989904" cy="756112"/>
          </a:xfrm>
          <a:prstGeom prst="rect">
            <a:avLst/>
          </a:prstGeom>
        </p:spPr>
        <p:txBody>
          <a:bodyPr anchor="ctr" anchorCtr="0"/>
          <a:lstStyle>
            <a:lvl1pPr algn="l">
              <a:defRPr sz="2533" b="0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 subtitle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2C164CBD-19B2-E045-9DDE-DCE8096092A0}"/>
              </a:ext>
            </a:extLst>
          </p:cNvPr>
          <p:cNvSpPr txBox="1"/>
          <p:nvPr userDrawn="1"/>
        </p:nvSpPr>
        <p:spPr>
          <a:xfrm>
            <a:off x="4302591" y="6429539"/>
            <a:ext cx="3701378" cy="400110"/>
          </a:xfrm>
          <a:prstGeom prst="rect">
            <a:avLst/>
          </a:prstGeom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1000" kern="1200" dirty="0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© SBM Offshore 2021. </a:t>
            </a:r>
            <a:r>
              <a:rPr lang="nl-NL" sz="1000" kern="1200" dirty="0" err="1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All</a:t>
            </a:r>
            <a:r>
              <a:rPr lang="nl-NL" sz="1000" kern="1200" dirty="0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000" kern="1200" dirty="0" err="1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rights</a:t>
            </a:r>
            <a:r>
              <a:rPr lang="nl-NL" sz="1000" kern="1200" dirty="0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000" kern="1200" dirty="0" err="1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reserved</a:t>
            </a:r>
            <a:r>
              <a:rPr lang="nl-NL" sz="1000" kern="1200" dirty="0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nl-NL" sz="1000" kern="1200" dirty="0" err="1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www.sbmoffshore.com</a:t>
            </a:r>
            <a:endParaRPr lang="nl-NL" sz="1000" kern="1200" dirty="0">
              <a:solidFill>
                <a:srgbClr val="646464"/>
              </a:solidFill>
              <a:effectLst/>
              <a:latin typeface="+mn-lt"/>
              <a:ea typeface="+mn-ea"/>
              <a:cs typeface="+mn-cs"/>
            </a:endParaRPr>
          </a:p>
          <a:p>
            <a:endParaRPr lang="nl-NL" sz="1000" dirty="0">
              <a:solidFill>
                <a:srgbClr val="646464"/>
              </a:solidFill>
            </a:endParaRPr>
          </a:p>
        </p:txBody>
      </p:sp>
      <p:pic>
        <p:nvPicPr>
          <p:cNvPr id="10" name="Afbeelding 9" descr="Afbeelding met tekening&#10;&#10;Automatisch gegenereerde beschrijving">
            <a:extLst>
              <a:ext uri="{FF2B5EF4-FFF2-40B4-BE49-F238E27FC236}">
                <a16:creationId xmlns:a16="http://schemas.microsoft.com/office/drawing/2014/main" id="{FEA05C0A-671E-104A-A772-6402701E8D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005" y="6224275"/>
            <a:ext cx="721729" cy="385200"/>
          </a:xfrm>
          <a:prstGeom prst="rect">
            <a:avLst/>
          </a:prstGeom>
        </p:spPr>
      </p:pic>
      <p:sp>
        <p:nvSpPr>
          <p:cNvPr id="13" name="Rechthoek 12">
            <a:extLst>
              <a:ext uri="{FF2B5EF4-FFF2-40B4-BE49-F238E27FC236}">
                <a16:creationId xmlns:a16="http://schemas.microsoft.com/office/drawing/2014/main" id="{65AB2814-D4B1-6747-9414-8B132CFD4003}"/>
              </a:ext>
            </a:extLst>
          </p:cNvPr>
          <p:cNvSpPr/>
          <p:nvPr userDrawn="1"/>
        </p:nvSpPr>
        <p:spPr>
          <a:xfrm>
            <a:off x="249005" y="248525"/>
            <a:ext cx="129385" cy="262845"/>
          </a:xfrm>
          <a:prstGeom prst="rect">
            <a:avLst/>
          </a:prstGeom>
          <a:solidFill>
            <a:srgbClr val="F56E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852837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kstvak 12">
            <a:extLst>
              <a:ext uri="{FF2B5EF4-FFF2-40B4-BE49-F238E27FC236}">
                <a16:creationId xmlns:a16="http://schemas.microsoft.com/office/drawing/2014/main" id="{01B07982-FBA2-5B49-8DE3-5930F5FC15EA}"/>
              </a:ext>
            </a:extLst>
          </p:cNvPr>
          <p:cNvSpPr txBox="1"/>
          <p:nvPr userDrawn="1"/>
        </p:nvSpPr>
        <p:spPr>
          <a:xfrm>
            <a:off x="4302591" y="6429539"/>
            <a:ext cx="3701378" cy="400110"/>
          </a:xfrm>
          <a:prstGeom prst="rect">
            <a:avLst/>
          </a:prstGeom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1000" kern="1200" dirty="0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© SBM Offshore 2021. </a:t>
            </a:r>
            <a:r>
              <a:rPr lang="nl-NL" sz="1000" kern="1200" dirty="0" err="1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All</a:t>
            </a:r>
            <a:r>
              <a:rPr lang="nl-NL" sz="1000" kern="1200" dirty="0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000" kern="1200" dirty="0" err="1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rights</a:t>
            </a:r>
            <a:r>
              <a:rPr lang="nl-NL" sz="1000" kern="1200" dirty="0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000" kern="1200" dirty="0" err="1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reserved</a:t>
            </a:r>
            <a:r>
              <a:rPr lang="nl-NL" sz="1000" kern="1200" dirty="0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nl-NL" sz="1000" kern="1200" dirty="0" err="1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www.sbmoffshore.com</a:t>
            </a:r>
            <a:endParaRPr lang="nl-NL" sz="1000" kern="1200" dirty="0">
              <a:solidFill>
                <a:srgbClr val="646464"/>
              </a:solidFill>
              <a:effectLst/>
              <a:latin typeface="+mn-lt"/>
              <a:ea typeface="+mn-ea"/>
              <a:cs typeface="+mn-cs"/>
            </a:endParaRPr>
          </a:p>
          <a:p>
            <a:endParaRPr lang="nl-NL" sz="1000" dirty="0">
              <a:solidFill>
                <a:srgbClr val="646464"/>
              </a:solidFill>
            </a:endParaRPr>
          </a:p>
        </p:txBody>
      </p:sp>
      <p:pic>
        <p:nvPicPr>
          <p:cNvPr id="4" name="Afbeelding 7" descr="Afbeelding met tekening&#10;&#10;Automatisch gegenereerde beschrijving">
            <a:extLst>
              <a:ext uri="{FF2B5EF4-FFF2-40B4-BE49-F238E27FC236}">
                <a16:creationId xmlns:a16="http://schemas.microsoft.com/office/drawing/2014/main" id="{184DE1BB-1295-AF4B-A517-3DC08D7EDE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005" y="6224275"/>
            <a:ext cx="721729" cy="385200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0" y="6812282"/>
            <a:ext cx="12192000" cy="45719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7478043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39639" y="1170918"/>
            <a:ext cx="5103376" cy="4516164"/>
          </a:xfrm>
          <a:prstGeom prst="rect">
            <a:avLst/>
          </a:prstGeom>
        </p:spPr>
        <p:txBody>
          <a:bodyPr/>
          <a:lstStyle>
            <a:lvl1pPr marL="457189" indent="-457189">
              <a:buClr>
                <a:srgbClr val="F56E23"/>
              </a:buClr>
              <a:buFontTx/>
              <a:buBlip>
                <a:blip r:embed="rId2"/>
              </a:buBlip>
              <a:defRPr sz="2400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1pPr>
            <a:lvl2pPr marL="1066773" indent="-457189">
              <a:buClr>
                <a:srgbClr val="F56E23"/>
              </a:buClr>
              <a:buFont typeface="Arial" pitchFamily="34" charset="0"/>
              <a:buChar char="•"/>
              <a:defRPr sz="2133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2pPr>
            <a:lvl3pPr marL="1676358" indent="-457189">
              <a:buClr>
                <a:srgbClr val="F56E23"/>
              </a:buClr>
              <a:buFont typeface="Arial" pitchFamily="34" charset="0"/>
              <a:buChar char="•"/>
              <a:defRPr sz="2000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3pPr>
            <a:lvl4pPr marL="2285943" indent="-457189">
              <a:buClr>
                <a:srgbClr val="F56E23"/>
              </a:buClr>
              <a:buFont typeface="Arial" pitchFamily="34" charset="0"/>
              <a:buChar char="•"/>
              <a:defRPr sz="1867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4pPr>
            <a:lvl5pPr marL="2895528" indent="-457189">
              <a:buClr>
                <a:srgbClr val="F56E23"/>
              </a:buClr>
              <a:buFont typeface="Arial" pitchFamily="34" charset="0"/>
              <a:buChar char="•"/>
              <a:defRPr sz="1867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Slide Number Placeholder 8"/>
          <p:cNvSpPr txBox="1">
            <a:spLocks/>
          </p:cNvSpPr>
          <p:nvPr userDrawn="1"/>
        </p:nvSpPr>
        <p:spPr>
          <a:xfrm>
            <a:off x="11441076" y="6420597"/>
            <a:ext cx="593060" cy="213471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rgbClr val="F56E23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r">
              <a:defRPr/>
            </a:pPr>
            <a:fld id="{31C852F3-457B-4BE9-ABEB-ADBE99B21990}" type="slidenum">
              <a:rPr lang="en-US" sz="1200" smtClean="0">
                <a:solidFill>
                  <a:srgbClr val="646464"/>
                </a:solidFill>
              </a:rPr>
              <a:pPr algn="r">
                <a:defRPr/>
              </a:pPr>
              <a:t>‹#›</a:t>
            </a:fld>
            <a:endParaRPr lang="en-US" sz="1200" dirty="0">
              <a:solidFill>
                <a:srgbClr val="646464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0" y="6812282"/>
            <a:ext cx="12192000" cy="45719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4"/>
          </p:nvPr>
        </p:nvSpPr>
        <p:spPr>
          <a:xfrm>
            <a:off x="5708364" y="1170918"/>
            <a:ext cx="5988051" cy="4523764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11" name="Title 13">
            <a:extLst>
              <a:ext uri="{FF2B5EF4-FFF2-40B4-BE49-F238E27FC236}">
                <a16:creationId xmlns:a16="http://schemas.microsoft.com/office/drawing/2014/main" id="{7569BC0C-8F67-2948-8F1C-A7C90EC7A2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390" y="1769"/>
            <a:ext cx="7989904" cy="756112"/>
          </a:xfrm>
          <a:prstGeom prst="rect">
            <a:avLst/>
          </a:prstGeom>
        </p:spPr>
        <p:txBody>
          <a:bodyPr anchor="ctr" anchorCtr="0"/>
          <a:lstStyle>
            <a:lvl1pPr algn="l">
              <a:defRPr sz="2533" b="0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 subtitle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2C164CBD-19B2-E045-9DDE-DCE8096092A0}"/>
              </a:ext>
            </a:extLst>
          </p:cNvPr>
          <p:cNvSpPr txBox="1"/>
          <p:nvPr userDrawn="1"/>
        </p:nvSpPr>
        <p:spPr>
          <a:xfrm>
            <a:off x="4302591" y="6429539"/>
            <a:ext cx="3701378" cy="400110"/>
          </a:xfrm>
          <a:prstGeom prst="rect">
            <a:avLst/>
          </a:prstGeom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1000" kern="1200" dirty="0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© SBM Offshore 2021. </a:t>
            </a:r>
            <a:r>
              <a:rPr lang="nl-NL" sz="1000" kern="1200" dirty="0" err="1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All</a:t>
            </a:r>
            <a:r>
              <a:rPr lang="nl-NL" sz="1000" kern="1200" dirty="0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000" kern="1200" dirty="0" err="1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rights</a:t>
            </a:r>
            <a:r>
              <a:rPr lang="nl-NL" sz="1000" kern="1200" dirty="0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l-NL" sz="1000" kern="1200" dirty="0" err="1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reserved</a:t>
            </a:r>
            <a:r>
              <a:rPr lang="nl-NL" sz="1000" kern="1200" dirty="0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nl-NL" sz="1000" kern="1200" dirty="0" err="1">
                <a:solidFill>
                  <a:srgbClr val="646464"/>
                </a:solidFill>
                <a:effectLst/>
                <a:latin typeface="+mn-lt"/>
                <a:ea typeface="+mn-ea"/>
                <a:cs typeface="+mn-cs"/>
              </a:rPr>
              <a:t>www.sbmoffshore.com</a:t>
            </a:r>
            <a:endParaRPr lang="nl-NL" sz="1000" kern="1200" dirty="0">
              <a:solidFill>
                <a:srgbClr val="646464"/>
              </a:solidFill>
              <a:effectLst/>
              <a:latin typeface="+mn-lt"/>
              <a:ea typeface="+mn-ea"/>
              <a:cs typeface="+mn-cs"/>
            </a:endParaRPr>
          </a:p>
          <a:p>
            <a:endParaRPr lang="nl-NL" sz="1000" dirty="0">
              <a:solidFill>
                <a:srgbClr val="646464"/>
              </a:solidFill>
            </a:endParaRPr>
          </a:p>
        </p:txBody>
      </p:sp>
      <p:pic>
        <p:nvPicPr>
          <p:cNvPr id="10" name="Afbeelding 9" descr="Afbeelding met tekening&#10;&#10;Automatisch gegenereerde beschrijving">
            <a:extLst>
              <a:ext uri="{FF2B5EF4-FFF2-40B4-BE49-F238E27FC236}">
                <a16:creationId xmlns:a16="http://schemas.microsoft.com/office/drawing/2014/main" id="{FEA05C0A-671E-104A-A772-6402701E8D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005" y="6224275"/>
            <a:ext cx="721729" cy="385200"/>
          </a:xfrm>
          <a:prstGeom prst="rect">
            <a:avLst/>
          </a:prstGeom>
        </p:spPr>
      </p:pic>
      <p:sp>
        <p:nvSpPr>
          <p:cNvPr id="13" name="Rechthoek 12">
            <a:extLst>
              <a:ext uri="{FF2B5EF4-FFF2-40B4-BE49-F238E27FC236}">
                <a16:creationId xmlns:a16="http://schemas.microsoft.com/office/drawing/2014/main" id="{65AB2814-D4B1-6747-9414-8B132CFD4003}"/>
              </a:ext>
            </a:extLst>
          </p:cNvPr>
          <p:cNvSpPr/>
          <p:nvPr userDrawn="1"/>
        </p:nvSpPr>
        <p:spPr>
          <a:xfrm>
            <a:off x="249005" y="248525"/>
            <a:ext cx="129385" cy="262845"/>
          </a:xfrm>
          <a:prstGeom prst="rect">
            <a:avLst/>
          </a:prstGeom>
          <a:solidFill>
            <a:srgbClr val="F56E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397727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image" Target="../media/image13.sv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image" Target="../media/image12.png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11.svg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image" Target="../media/image10.png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12860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hf hdr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5pPr>
      <a:lvl6pPr marL="609585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6pPr>
      <a:lvl7pPr marL="1219170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7pPr>
      <a:lvl8pPr marL="1828754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8pPr>
      <a:lvl9pPr marL="2438339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9pPr>
    </p:titleStyle>
    <p:bodyStyle>
      <a:lvl1pPr marL="457189" indent="-457189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16426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</p:sldLayoutIdLst>
  <p:hf hdr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5pPr>
      <a:lvl6pPr marL="609585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6pPr>
      <a:lvl7pPr marL="1219170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7pPr>
      <a:lvl8pPr marL="1828754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8pPr>
      <a:lvl9pPr marL="2438339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9pPr>
    </p:titleStyle>
    <p:bodyStyle>
      <a:lvl1pPr marL="457189" indent="-457189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B217D2AF-5BC9-4A5A-B3E5-8AE7E6189C10}"/>
              </a:ext>
            </a:extLst>
          </p:cNvPr>
          <p:cNvSpPr/>
          <p:nvPr userDrawn="1"/>
        </p:nvSpPr>
        <p:spPr>
          <a:xfrm>
            <a:off x="0" y="0"/>
            <a:ext cx="12192000" cy="70895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282AD42-78B1-47D0-9C9A-B8FD6BE5CC55}"/>
              </a:ext>
            </a:extLst>
          </p:cNvPr>
          <p:cNvSpPr/>
          <p:nvPr userDrawn="1"/>
        </p:nvSpPr>
        <p:spPr>
          <a:xfrm>
            <a:off x="9426742" y="0"/>
            <a:ext cx="2772088" cy="70895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1F6C9377-D85D-4A13-8EE6-579EDE4D2E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 l="46238" t="48889" r="52310" b="46482"/>
          <a:stretch/>
        </p:blipFill>
        <p:spPr>
          <a:xfrm rot="16200000">
            <a:off x="9484401" y="-912797"/>
            <a:ext cx="708952" cy="2534546"/>
          </a:xfrm>
          <a:prstGeom prst="rect">
            <a:avLst/>
          </a:prstGeom>
        </p:spPr>
      </p:pic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86F63CFD-6FAE-D942-8179-A432081DF2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180404"/>
            <a:ext cx="9967912" cy="4247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/>
          <a:p>
            <a:r>
              <a:rPr lang="en-US" dirty="0"/>
              <a:t>Click to edit title style</a:t>
            </a:r>
            <a:endParaRPr lang="en-US" noProof="0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F908F0F-7D00-8948-9ABB-C250E840D8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21646" y="1166683"/>
            <a:ext cx="11362368" cy="46388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itle </a:t>
            </a:r>
            <a:r>
              <a:rPr lang="en-US" noProof="0" dirty="0"/>
              <a:t>style</a:t>
            </a:r>
          </a:p>
          <a:p>
            <a:pPr lvl="1"/>
            <a:r>
              <a:rPr lang="en-US" dirty="0"/>
              <a:t>Second level</a:t>
            </a:r>
            <a:endParaRPr lang="en-US" noProof="0" dirty="0"/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C6A0932E-FEAD-1C4C-86E5-97BBB6F2A0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21201" y="6375097"/>
            <a:ext cx="4114800" cy="225441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r">
              <a:defRPr sz="700" b="0" i="0">
                <a:solidFill>
                  <a:srgbClr val="646363"/>
                </a:solidFill>
                <a:latin typeface="Avenir Light" panose="020B0402020203020204" pitchFamily="34" charset="77"/>
              </a:defRPr>
            </a:lvl1pPr>
          </a:lstStyle>
          <a:p>
            <a:r>
              <a:rPr lang="fr-FR"/>
              <a:t>© SBM Offshore 2023. All rights reserved. www.sbmoffshore.com</a:t>
            </a:r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3343F93-8894-0C42-87D3-BA302B8908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8939" y="6370825"/>
            <a:ext cx="367791" cy="225441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ctr">
              <a:defRPr sz="700" b="0" i="0">
                <a:solidFill>
                  <a:srgbClr val="646363"/>
                </a:solidFill>
                <a:latin typeface="Avenir Light" panose="020B0402020203020204" pitchFamily="34" charset="77"/>
              </a:defRPr>
            </a:lvl1pPr>
          </a:lstStyle>
          <a:p>
            <a:fld id="{B07B8046-5099-5A4D-8E74-E863D84FE29A}" type="slidenum">
              <a:rPr lang="fr-FR" smtClean="0"/>
              <a:pPr/>
              <a:t>‹#›</a:t>
            </a:fld>
            <a:endParaRPr lang="fr-FR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524A814-79E6-4D42-86D6-F90640F8CCE5}"/>
              </a:ext>
            </a:extLst>
          </p:cNvPr>
          <p:cNvCxnSpPr>
            <a:cxnSpLocks/>
          </p:cNvCxnSpPr>
          <p:nvPr userDrawn="1"/>
        </p:nvCxnSpPr>
        <p:spPr>
          <a:xfrm>
            <a:off x="11325225" y="6375097"/>
            <a:ext cx="0" cy="221169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03E145CD-E052-486C-B800-816CEA8863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3193" t="36106" r="58588" b="42157"/>
          <a:stretch/>
        </p:blipFill>
        <p:spPr>
          <a:xfrm>
            <a:off x="11099320" y="111868"/>
            <a:ext cx="854341" cy="465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2541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  <p:sldLayoutId id="2147483692" r:id="rId12"/>
    <p:sldLayoutId id="2147483693" r:id="rId1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i="0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60363" indent="-180975" algn="l" defTabSz="914400" rtl="0" eaLnBrk="1" latinLnBrk="0" hangingPunct="1">
        <a:lnSpc>
          <a:spcPts val="2400"/>
        </a:lnSpc>
        <a:spcBef>
          <a:spcPts val="0"/>
        </a:spcBef>
        <a:spcAft>
          <a:spcPts val="200"/>
        </a:spcAft>
        <a:buClr>
          <a:schemeClr val="accent1"/>
        </a:buClr>
        <a:buFont typeface="Arial" panose="020B0604020202020204" pitchFamily="34" charset="0"/>
        <a:buChar char="•"/>
        <a:tabLst/>
        <a:defRPr sz="2400" b="0" i="0" kern="1200">
          <a:solidFill>
            <a:srgbClr val="64636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579438" indent="-227013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tabLst/>
        <a:defRPr sz="1400" b="0" i="0" kern="1200">
          <a:solidFill>
            <a:srgbClr val="64636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46138" indent="-2349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200" b="0" i="0" kern="1200">
          <a:solidFill>
            <a:srgbClr val="64636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073150" indent="-22701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050" b="0" i="0" kern="1200">
          <a:solidFill>
            <a:srgbClr val="64636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7514">
          <p15:clr>
            <a:srgbClr val="F26B43"/>
          </p15:clr>
        </p15:guide>
        <p15:guide id="4" pos="166">
          <p15:clr>
            <a:srgbClr val="F26B43"/>
          </p15:clr>
        </p15:guide>
        <p15:guide id="5" orient="horz" pos="640">
          <p15:clr>
            <a:srgbClr val="F26B43"/>
          </p15:clr>
        </p15:guide>
        <p15:guide id="6" orient="horz" pos="3748">
          <p15:clr>
            <a:srgbClr val="F26B43"/>
          </p15:clr>
        </p15:guide>
        <p15:guide id="7" pos="257">
          <p15:clr>
            <a:srgbClr val="F26B43"/>
          </p15:clr>
        </p15:guide>
        <p15:guide id="8" pos="7423">
          <p15:clr>
            <a:srgbClr val="F26B43"/>
          </p15:clr>
        </p15:guide>
        <p15:guide id="9" orient="horz" pos="731">
          <p15:clr>
            <a:srgbClr val="F26B43"/>
          </p15:clr>
        </p15:guide>
        <p15:guide id="10" orient="horz" pos="3657">
          <p15:clr>
            <a:srgbClr val="F26B43"/>
          </p15:clr>
        </p15:guide>
        <p15:guide id="11" orient="horz" pos="164">
          <p15:clr>
            <a:srgbClr val="F26B43"/>
          </p15:clr>
        </p15:guide>
        <p15:guide id="12" orient="horz" pos="4156">
          <p15:clr>
            <a:srgbClr val="F26B43"/>
          </p15:clr>
        </p15:guide>
        <p15:guide id="13" pos="2615">
          <p15:clr>
            <a:srgbClr val="F26B43"/>
          </p15:clr>
        </p15:guide>
        <p15:guide id="14" pos="5065">
          <p15:clr>
            <a:srgbClr val="F26B43"/>
          </p15:clr>
        </p15:guide>
        <p15:guide id="15" pos="6289">
          <p15:clr>
            <a:srgbClr val="F26B43"/>
          </p15:clr>
        </p15:guide>
        <p15:guide id="16" pos="1391">
          <p15:clr>
            <a:srgbClr val="F26B43"/>
          </p15:clr>
        </p15:guide>
        <p15:guide id="17" orient="horz" pos="1638">
          <p15:clr>
            <a:srgbClr val="F26B43"/>
          </p15:clr>
        </p15:guide>
        <p15:guide id="18" orient="horz" pos="268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2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A973EE0-C866-9935-3F2E-DAAB9BDBB5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544" y="5816"/>
            <a:ext cx="9711246" cy="757130"/>
          </a:xfrm>
        </p:spPr>
        <p:txBody>
          <a:bodyPr/>
          <a:lstStyle/>
          <a:p>
            <a:r>
              <a:rPr lang="en-US" sz="2400" dirty="0"/>
              <a:t>Appendix 1 - Overview of Taxes – SBM Offshore Global Presenc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9808261-2F02-24E1-3465-8A3AD2471A0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Avenir Light" panose="020B0402020203020204" pitchFamily="34" charset="77"/>
                <a:ea typeface="+mn-ea"/>
                <a:cs typeface="+mn-cs"/>
              </a:rPr>
              <a:t>© SBM Offshore 2023. All rights reserved. www.sbmoffshore.com</a:t>
            </a:r>
            <a:endParaRPr kumimoji="0" lang="fr-FR" sz="7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Avenir Light" panose="020B0402020203020204" pitchFamily="34" charset="77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3CBA98C-A6EA-3D49-D50A-62B3918714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34024" y="882679"/>
            <a:ext cx="7015068" cy="5492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49230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A973EE0-C866-9935-3F2E-DAAB9BDBB5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544" y="172015"/>
            <a:ext cx="9011924" cy="424732"/>
          </a:xfrm>
        </p:spPr>
        <p:txBody>
          <a:bodyPr/>
          <a:lstStyle/>
          <a:p>
            <a:r>
              <a:rPr lang="en-US" sz="2400" dirty="0"/>
              <a:t>Overview of Taxes – </a:t>
            </a:r>
            <a:r>
              <a:rPr lang="nl-NL" sz="2400" dirty="0"/>
              <a:t>2023 Current Tax Liabilities (IFRS)</a:t>
            </a:r>
            <a:endParaRPr lang="en-US" sz="24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9808261-2F02-24E1-3465-8A3AD2471A0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Avenir Light" panose="020B0402020203020204" pitchFamily="34" charset="77"/>
                <a:ea typeface="+mn-ea"/>
                <a:cs typeface="+mn-cs"/>
              </a:rPr>
              <a:t>© SBM Offshore 2023. All rights reserved. www.sbmoffshore.com</a:t>
            </a:r>
            <a:endParaRPr kumimoji="0" lang="fr-FR" sz="7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Avenir Light" panose="020B0402020203020204" pitchFamily="34" charset="77"/>
              <a:ea typeface="+mn-ea"/>
              <a:cs typeface="+mn-c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3E58CEE-40FB-7DB6-49AD-9B3E481F1D8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90542" y="672982"/>
            <a:ext cx="11368742" cy="6080155"/>
          </a:xfrm>
        </p:spPr>
        <p:txBody>
          <a:bodyPr/>
          <a:lstStyle/>
          <a:p>
            <a:endParaRPr lang="en-US" dirty="0"/>
          </a:p>
          <a:p>
            <a:endParaRPr lang="fr-MC" sz="2000" dirty="0"/>
          </a:p>
          <a:p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1048752-FFA3-FB27-EBD0-F545B121F4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1711" y="2584493"/>
            <a:ext cx="5457825" cy="294322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6F06C60-07ED-DE85-BE48-34456D577BFA}"/>
              </a:ext>
            </a:extLst>
          </p:cNvPr>
          <p:cNvSpPr/>
          <p:nvPr/>
        </p:nvSpPr>
        <p:spPr>
          <a:xfrm>
            <a:off x="463550" y="1192511"/>
            <a:ext cx="1124077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ase">
              <a:spcBef>
                <a:spcPct val="20000"/>
              </a:spcBef>
              <a:spcAft>
                <a:spcPct val="0"/>
              </a:spcAft>
              <a:buClr>
                <a:srgbClr val="F56E23"/>
              </a:buClr>
            </a:pPr>
            <a:r>
              <a:rPr lang="en-GB" sz="1200" b="1" dirty="0">
                <a:solidFill>
                  <a:srgbClr val="646464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Corporate Tax Footprint of the Group at a Glance (in millions US$): 		Overall Tax Footprint of the Group (in millions US$):</a:t>
            </a:r>
            <a:endParaRPr lang="fr-MC" sz="1200" dirty="0">
              <a:solidFill>
                <a:srgbClr val="646464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E0CB570-FB10-5EE2-9053-F6663C986B73}"/>
              </a:ext>
            </a:extLst>
          </p:cNvPr>
          <p:cNvCxnSpPr>
            <a:cxnSpLocks/>
          </p:cNvCxnSpPr>
          <p:nvPr/>
        </p:nvCxnSpPr>
        <p:spPr>
          <a:xfrm flipH="1" flipV="1">
            <a:off x="1739449" y="2230974"/>
            <a:ext cx="606583" cy="2344847"/>
          </a:xfrm>
          <a:prstGeom prst="line">
            <a:avLst/>
          </a:pr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2DE6CAC-8F15-DD3B-9105-17D36D5C443B}"/>
              </a:ext>
            </a:extLst>
          </p:cNvPr>
          <p:cNvCxnSpPr>
            <a:cxnSpLocks/>
          </p:cNvCxnSpPr>
          <p:nvPr/>
        </p:nvCxnSpPr>
        <p:spPr>
          <a:xfrm flipH="1" flipV="1">
            <a:off x="616474" y="2175373"/>
            <a:ext cx="1490474" cy="2215558"/>
          </a:xfrm>
          <a:prstGeom prst="line">
            <a:avLst/>
          </a:pr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D142F1A-1F2A-8245-1EAD-71658EB86E9B}"/>
              </a:ext>
            </a:extLst>
          </p:cNvPr>
          <p:cNvCxnSpPr>
            <a:cxnSpLocks/>
          </p:cNvCxnSpPr>
          <p:nvPr/>
        </p:nvCxnSpPr>
        <p:spPr>
          <a:xfrm flipV="1">
            <a:off x="2859022" y="2247417"/>
            <a:ext cx="8596" cy="1465642"/>
          </a:xfrm>
          <a:prstGeom prst="line">
            <a:avLst/>
          </a:pr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46C33AA-E3C9-FB65-4960-9A2BAC88E797}"/>
              </a:ext>
            </a:extLst>
          </p:cNvPr>
          <p:cNvCxnSpPr>
            <a:cxnSpLocks/>
            <a:endCxn id="32" idx="0"/>
          </p:cNvCxnSpPr>
          <p:nvPr/>
        </p:nvCxnSpPr>
        <p:spPr>
          <a:xfrm flipH="1">
            <a:off x="1747310" y="4390931"/>
            <a:ext cx="1173105" cy="1299873"/>
          </a:xfrm>
          <a:prstGeom prst="line">
            <a:avLst/>
          </a:pr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EF8A581A-D12A-D073-5BFF-4904BFDA8385}"/>
              </a:ext>
            </a:extLst>
          </p:cNvPr>
          <p:cNvCxnSpPr>
            <a:cxnSpLocks/>
            <a:endCxn id="31" idx="2"/>
          </p:cNvCxnSpPr>
          <p:nvPr/>
        </p:nvCxnSpPr>
        <p:spPr>
          <a:xfrm flipV="1">
            <a:off x="2920415" y="2271918"/>
            <a:ext cx="1149374" cy="1526067"/>
          </a:xfrm>
          <a:prstGeom prst="line">
            <a:avLst/>
          </a:pr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4F9FACD5-86D9-D571-F3AA-ED86813EA89E}"/>
              </a:ext>
            </a:extLst>
          </p:cNvPr>
          <p:cNvSpPr/>
          <p:nvPr/>
        </p:nvSpPr>
        <p:spPr>
          <a:xfrm>
            <a:off x="1264477" y="1987757"/>
            <a:ext cx="932598" cy="277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800" b="1" dirty="0">
                <a:solidFill>
                  <a:schemeClr val="bg2"/>
                </a:solidFill>
              </a:rPr>
              <a:t>Brazil </a:t>
            </a:r>
          </a:p>
          <a:p>
            <a:pPr algn="ctr"/>
            <a:r>
              <a:rPr lang="fr-FR" sz="800" b="1" dirty="0">
                <a:solidFill>
                  <a:schemeClr val="bg2"/>
                </a:solidFill>
              </a:rPr>
              <a:t>US$ 23.8</a:t>
            </a:r>
            <a:endParaRPr lang="en-US" sz="800" b="1" dirty="0">
              <a:solidFill>
                <a:schemeClr val="bg2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6985B58-33B3-D74F-FEF4-134165C7DD3E}"/>
              </a:ext>
            </a:extLst>
          </p:cNvPr>
          <p:cNvSpPr/>
          <p:nvPr/>
        </p:nvSpPr>
        <p:spPr>
          <a:xfrm>
            <a:off x="210824" y="1979576"/>
            <a:ext cx="932598" cy="277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800" b="1" dirty="0">
                <a:solidFill>
                  <a:schemeClr val="bg2"/>
                </a:solidFill>
              </a:rPr>
              <a:t>Guyana</a:t>
            </a:r>
          </a:p>
          <a:p>
            <a:pPr algn="ctr"/>
            <a:r>
              <a:rPr lang="fr-FR" sz="800" b="1" dirty="0">
                <a:solidFill>
                  <a:schemeClr val="bg2"/>
                </a:solidFill>
              </a:rPr>
              <a:t>US$ 66.5</a:t>
            </a:r>
            <a:endParaRPr lang="en-US" sz="800" b="1" dirty="0">
              <a:solidFill>
                <a:schemeClr val="bg2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4D2087D-E390-A39B-EFC3-1CB7D76BDEEE}"/>
              </a:ext>
            </a:extLst>
          </p:cNvPr>
          <p:cNvSpPr/>
          <p:nvPr/>
        </p:nvSpPr>
        <p:spPr>
          <a:xfrm>
            <a:off x="2424121" y="1984134"/>
            <a:ext cx="932598" cy="277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800" b="1" dirty="0">
                <a:solidFill>
                  <a:schemeClr val="bg2"/>
                </a:solidFill>
              </a:rPr>
              <a:t>United Kingdom</a:t>
            </a:r>
          </a:p>
          <a:p>
            <a:pPr algn="ctr"/>
            <a:r>
              <a:rPr lang="fr-FR" sz="800" b="1" dirty="0">
                <a:solidFill>
                  <a:schemeClr val="bg2"/>
                </a:solidFill>
              </a:rPr>
              <a:t>US$ 14.4</a:t>
            </a:r>
            <a:endParaRPr lang="en-US" sz="800" b="1" dirty="0">
              <a:solidFill>
                <a:schemeClr val="bg2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6C865A0-5B45-608F-AC3B-A03A45BE6302}"/>
              </a:ext>
            </a:extLst>
          </p:cNvPr>
          <p:cNvSpPr/>
          <p:nvPr/>
        </p:nvSpPr>
        <p:spPr>
          <a:xfrm>
            <a:off x="3603490" y="1994918"/>
            <a:ext cx="932598" cy="277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800" b="1" dirty="0">
                <a:solidFill>
                  <a:schemeClr val="bg2"/>
                </a:solidFill>
              </a:rPr>
              <a:t>Switzerland</a:t>
            </a:r>
          </a:p>
          <a:p>
            <a:pPr algn="ctr"/>
            <a:r>
              <a:rPr lang="fr-FR" sz="800" b="1" dirty="0">
                <a:solidFill>
                  <a:schemeClr val="bg2"/>
                </a:solidFill>
              </a:rPr>
              <a:t>US$ 12.6</a:t>
            </a:r>
            <a:endParaRPr lang="en-US" sz="800" b="1" dirty="0">
              <a:solidFill>
                <a:schemeClr val="bg2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12FD228-DB7C-00CB-CD1F-157BF63A552A}"/>
              </a:ext>
            </a:extLst>
          </p:cNvPr>
          <p:cNvSpPr/>
          <p:nvPr/>
        </p:nvSpPr>
        <p:spPr>
          <a:xfrm>
            <a:off x="1281010" y="5690804"/>
            <a:ext cx="932599" cy="277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750" b="1" dirty="0">
                <a:solidFill>
                  <a:schemeClr val="bg2"/>
                </a:solidFill>
              </a:rPr>
              <a:t>Equatorial Guinea</a:t>
            </a:r>
          </a:p>
          <a:p>
            <a:pPr algn="ctr"/>
            <a:r>
              <a:rPr lang="fr-FR" sz="800" b="1" dirty="0">
                <a:solidFill>
                  <a:schemeClr val="bg2"/>
                </a:solidFill>
              </a:rPr>
              <a:t>US$ 4.4</a:t>
            </a:r>
            <a:endParaRPr lang="en-US" sz="800" b="1" dirty="0">
              <a:solidFill>
                <a:schemeClr val="bg2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E9AD28BC-F140-C762-9C0B-8959B2C1B43F}"/>
              </a:ext>
            </a:extLst>
          </p:cNvPr>
          <p:cNvSpPr/>
          <p:nvPr/>
        </p:nvSpPr>
        <p:spPr>
          <a:xfrm>
            <a:off x="2721909" y="5716359"/>
            <a:ext cx="932598" cy="277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800" b="1" dirty="0">
                <a:solidFill>
                  <a:schemeClr val="bg2"/>
                </a:solidFill>
              </a:rPr>
              <a:t>Monaco</a:t>
            </a:r>
          </a:p>
          <a:p>
            <a:pPr algn="ctr"/>
            <a:r>
              <a:rPr lang="fr-FR" sz="800" b="1" dirty="0">
                <a:solidFill>
                  <a:schemeClr val="bg2"/>
                </a:solidFill>
              </a:rPr>
              <a:t>US$ 1.4</a:t>
            </a:r>
            <a:endParaRPr lang="en-US" sz="800" b="1" dirty="0">
              <a:solidFill>
                <a:schemeClr val="bg2"/>
              </a:solidFill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B247DC17-BD48-1340-585B-FDBA673758E6}"/>
              </a:ext>
            </a:extLst>
          </p:cNvPr>
          <p:cNvCxnSpPr>
            <a:cxnSpLocks/>
            <a:endCxn id="33" idx="0"/>
          </p:cNvCxnSpPr>
          <p:nvPr/>
        </p:nvCxnSpPr>
        <p:spPr>
          <a:xfrm>
            <a:off x="2976500" y="3874220"/>
            <a:ext cx="211708" cy="1842139"/>
          </a:xfrm>
          <a:prstGeom prst="line">
            <a:avLst/>
          </a:pr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19B8283E-5280-75EE-2A63-73A4527D97E8}"/>
              </a:ext>
            </a:extLst>
          </p:cNvPr>
          <p:cNvSpPr/>
          <p:nvPr/>
        </p:nvSpPr>
        <p:spPr>
          <a:xfrm>
            <a:off x="4766710" y="1976828"/>
            <a:ext cx="932598" cy="277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800" b="1" dirty="0">
                <a:solidFill>
                  <a:schemeClr val="bg2"/>
                </a:solidFill>
              </a:rPr>
              <a:t>India</a:t>
            </a:r>
          </a:p>
          <a:p>
            <a:pPr algn="ctr"/>
            <a:r>
              <a:rPr lang="fr-FR" sz="800" b="1" dirty="0">
                <a:solidFill>
                  <a:schemeClr val="bg2"/>
                </a:solidFill>
              </a:rPr>
              <a:t>US$ 1.3</a:t>
            </a:r>
            <a:endParaRPr lang="en-US" sz="800" b="1" dirty="0">
              <a:solidFill>
                <a:schemeClr val="bg2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05E7B25-E700-1E94-3E23-76CFC96EF964}"/>
              </a:ext>
            </a:extLst>
          </p:cNvPr>
          <p:cNvCxnSpPr>
            <a:cxnSpLocks/>
          </p:cNvCxnSpPr>
          <p:nvPr/>
        </p:nvCxnSpPr>
        <p:spPr>
          <a:xfrm flipV="1">
            <a:off x="3818809" y="2253828"/>
            <a:ext cx="1415589" cy="1983194"/>
          </a:xfrm>
          <a:prstGeom prst="line">
            <a:avLst/>
          </a:pr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E447E66D-7ECC-BF1F-5B7C-8645157AF21A}"/>
              </a:ext>
            </a:extLst>
          </p:cNvPr>
          <p:cNvSpPr/>
          <p:nvPr/>
        </p:nvSpPr>
        <p:spPr>
          <a:xfrm>
            <a:off x="4178677" y="5708954"/>
            <a:ext cx="932598" cy="277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800" b="1" dirty="0">
                <a:solidFill>
                  <a:schemeClr val="bg2"/>
                </a:solidFill>
              </a:rPr>
              <a:t>Malaysia </a:t>
            </a:r>
          </a:p>
          <a:p>
            <a:pPr algn="ctr"/>
            <a:r>
              <a:rPr lang="fr-FR" sz="800" b="1" dirty="0">
                <a:solidFill>
                  <a:schemeClr val="bg2"/>
                </a:solidFill>
              </a:rPr>
              <a:t>US$ 1.1</a:t>
            </a:r>
            <a:endParaRPr lang="en-US" sz="800" b="1" dirty="0">
              <a:solidFill>
                <a:schemeClr val="bg2"/>
              </a:solidFill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29625E40-2E8B-56C6-0557-0E6B599BA816}"/>
              </a:ext>
            </a:extLst>
          </p:cNvPr>
          <p:cNvCxnSpPr>
            <a:cxnSpLocks/>
            <a:endCxn id="22" idx="0"/>
          </p:cNvCxnSpPr>
          <p:nvPr/>
        </p:nvCxnSpPr>
        <p:spPr>
          <a:xfrm>
            <a:off x="4133641" y="4410472"/>
            <a:ext cx="511335" cy="1298482"/>
          </a:xfrm>
          <a:prstGeom prst="line">
            <a:avLst/>
          </a:pr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E41B17BB-D14B-0FD0-A77A-FF5D11CB955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10235" y="2115328"/>
            <a:ext cx="3657600" cy="312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80205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A973EE0-C866-9935-3F2E-DAAB9BDBB5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963" y="172015"/>
            <a:ext cx="10818890" cy="424732"/>
          </a:xfrm>
        </p:spPr>
        <p:txBody>
          <a:bodyPr/>
          <a:lstStyle/>
          <a:p>
            <a:r>
              <a:rPr lang="en-US" sz="2400" dirty="0"/>
              <a:t>Top 10 Tax Contributions by Jurisdiction in 2023 (in millions US$) – IFRS 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9808261-2F02-24E1-3465-8A3AD2471A0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Avenir Light" panose="020B0402020203020204" pitchFamily="34" charset="77"/>
                <a:ea typeface="+mn-ea"/>
                <a:cs typeface="+mn-cs"/>
              </a:rPr>
              <a:t>© SBM Offshore 2023. All rights reserved. www.sbmoffshore.com</a:t>
            </a:r>
            <a:endParaRPr kumimoji="0" lang="fr-FR" sz="7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Avenir Light" panose="020B0402020203020204" pitchFamily="34" charset="77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D86BC3A-2ACA-BA55-E1A9-A4DD85D93C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5135" y="1073453"/>
            <a:ext cx="10700866" cy="4443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22837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9808261-2F02-24E1-3465-8A3AD2471A0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Avenir Light" panose="020B0402020203020204" pitchFamily="34" charset="77"/>
                <a:ea typeface="+mn-ea"/>
                <a:cs typeface="+mn-cs"/>
              </a:rPr>
              <a:t>© SBM Offshore 2023. All rights reserved. www.sbmoffshore.com</a:t>
            </a:r>
            <a:endParaRPr kumimoji="0" lang="fr-FR" sz="7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Avenir Light" panose="020B0402020203020204" pitchFamily="34" charset="77"/>
              <a:ea typeface="+mn-ea"/>
              <a:cs typeface="+mn-cs"/>
            </a:endParaRPr>
          </a:p>
        </p:txBody>
      </p:sp>
      <p:sp>
        <p:nvSpPr>
          <p:cNvPr id="2" name="Title 4">
            <a:extLst>
              <a:ext uri="{FF2B5EF4-FFF2-40B4-BE49-F238E27FC236}">
                <a16:creationId xmlns:a16="http://schemas.microsoft.com/office/drawing/2014/main" id="{E81B4D36-C0E3-21C6-0270-7289A582A488}"/>
              </a:ext>
            </a:extLst>
          </p:cNvPr>
          <p:cNvSpPr txBox="1">
            <a:spLocks/>
          </p:cNvSpPr>
          <p:nvPr/>
        </p:nvSpPr>
        <p:spPr>
          <a:xfrm>
            <a:off x="0" y="139885"/>
            <a:ext cx="10818890" cy="4247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i="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Top 10 Tax Contributions by Jurisdiction in 2023 (in millions US$) – IFR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F7BE916-4FE3-8307-8702-7A2649F515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6284" y="759412"/>
            <a:ext cx="9962606" cy="5448300"/>
          </a:xfrm>
          <a:prstGeom prst="rect">
            <a:avLst/>
          </a:pr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2CE87380-DD61-5082-26B6-CB3317F3A788}"/>
              </a:ext>
            </a:extLst>
          </p:cNvPr>
          <p:cNvSpPr/>
          <p:nvPr/>
        </p:nvSpPr>
        <p:spPr>
          <a:xfrm>
            <a:off x="2897732" y="4122529"/>
            <a:ext cx="633506" cy="310776"/>
          </a:xfrm>
          <a:prstGeom prst="ellipse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57D0B55-9AB9-E8CC-B9C9-6DF768D65ACF}"/>
              </a:ext>
            </a:extLst>
          </p:cNvPr>
          <p:cNvSpPr/>
          <p:nvPr/>
        </p:nvSpPr>
        <p:spPr>
          <a:xfrm>
            <a:off x="7788393" y="4909234"/>
            <a:ext cx="2969537" cy="101398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dirty="0">
                <a:solidFill>
                  <a:schemeClr val="accent1">
                    <a:lumMod val="75000"/>
                  </a:schemeClr>
                </a:solidFill>
              </a:rPr>
              <a:t>Focus </a:t>
            </a:r>
          </a:p>
          <a:p>
            <a:pPr algn="ctr"/>
            <a:r>
              <a:rPr lang="fr-FR" sz="900" dirty="0">
                <a:solidFill>
                  <a:schemeClr val="accent6">
                    <a:lumMod val="75000"/>
                  </a:schemeClr>
                </a:solidFill>
              </a:rPr>
              <a:t>Tax &amp; Contributions on salaries for « Rest of the world »  US$ 26.3 includes:</a:t>
            </a:r>
          </a:p>
          <a:p>
            <a:pPr algn="ctr"/>
            <a:r>
              <a:rPr lang="fr-FR" sz="900" dirty="0">
                <a:solidFill>
                  <a:schemeClr val="accent6">
                    <a:lumMod val="75000"/>
                  </a:schemeClr>
                </a:solidFill>
              </a:rPr>
              <a:t>China (US$ 14.1); Portugal (US$ 6.3); US (US$ 2.1); Singapore (US$ 1.8); France (US$ 0.8); Norway (US$ 0.75); Canada (US$ 0.3) </a:t>
            </a:r>
            <a:endParaRPr lang="en-US" sz="900" dirty="0">
              <a:solidFill>
                <a:schemeClr val="accent6">
                  <a:lumMod val="75000"/>
                </a:schemeClr>
              </a:solidFill>
            </a:endParaRP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FD9A8970-181A-E3C8-48CD-98C183F4ECFF}"/>
              </a:ext>
            </a:extLst>
          </p:cNvPr>
          <p:cNvCxnSpPr>
            <a:cxnSpLocks/>
            <a:stCxn id="9" idx="5"/>
          </p:cNvCxnSpPr>
          <p:nvPr/>
        </p:nvCxnSpPr>
        <p:spPr>
          <a:xfrm>
            <a:off x="3438463" y="4387793"/>
            <a:ext cx="4288970" cy="637017"/>
          </a:xfrm>
          <a:prstGeom prst="straightConnector1">
            <a:avLst/>
          </a:prstGeom>
          <a:ln>
            <a:solidFill>
              <a:srgbClr val="C7C8C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00506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Custom Design">
  <a:themeElements>
    <a:clrScheme name="">
      <a:dk1>
        <a:srgbClr val="000000"/>
      </a:dk1>
      <a:lt1>
        <a:srgbClr val="FFFFFF"/>
      </a:lt1>
      <a:dk2>
        <a:srgbClr val="646464"/>
      </a:dk2>
      <a:lt2>
        <a:srgbClr val="FFFFFF"/>
      </a:lt2>
      <a:accent1>
        <a:srgbClr val="F56E23"/>
      </a:accent1>
      <a:accent2>
        <a:srgbClr val="8C8C0A"/>
      </a:accent2>
      <a:accent3>
        <a:srgbClr val="280A5A"/>
      </a:accent3>
      <a:accent4>
        <a:srgbClr val="7D0A4B"/>
      </a:accent4>
      <a:accent5>
        <a:srgbClr val="000000"/>
      </a:accent5>
      <a:accent6>
        <a:srgbClr val="FFFFFF"/>
      </a:accent6>
      <a:hlink>
        <a:srgbClr val="7D0A4B"/>
      </a:hlink>
      <a:folHlink>
        <a:srgbClr val="F56E2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anchor="ctr" anchorCtr="0"/>
      <a:lstStyle>
        <a:defPPr>
          <a:defRPr sz="25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2020-SBM-Offshore-Template.potx [Read-Only]" id="{28262AB2-19A6-4D94-A390-AB4B939580A1}" vid="{9D0F8B99-6BA0-44A8-9CF2-E9991A250EDF}"/>
    </a:ext>
  </a:extLst>
</a:theme>
</file>

<file path=ppt/theme/theme2.xml><?xml version="1.0" encoding="utf-8"?>
<a:theme xmlns:a="http://schemas.openxmlformats.org/drawingml/2006/main" name="Custom Design">
  <a:themeElements>
    <a:clrScheme name="">
      <a:dk1>
        <a:srgbClr val="000000"/>
      </a:dk1>
      <a:lt1>
        <a:srgbClr val="FFFFFF"/>
      </a:lt1>
      <a:dk2>
        <a:srgbClr val="646464"/>
      </a:dk2>
      <a:lt2>
        <a:srgbClr val="FFFFFF"/>
      </a:lt2>
      <a:accent1>
        <a:srgbClr val="F56E23"/>
      </a:accent1>
      <a:accent2>
        <a:srgbClr val="8C8C0A"/>
      </a:accent2>
      <a:accent3>
        <a:srgbClr val="280A5A"/>
      </a:accent3>
      <a:accent4>
        <a:srgbClr val="7D0A4B"/>
      </a:accent4>
      <a:accent5>
        <a:srgbClr val="000000"/>
      </a:accent5>
      <a:accent6>
        <a:srgbClr val="FFFFFF"/>
      </a:accent6>
      <a:hlink>
        <a:srgbClr val="7D0A4B"/>
      </a:hlink>
      <a:folHlink>
        <a:srgbClr val="F56E2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anchor="ctr" anchorCtr="0"/>
      <a:lstStyle>
        <a:defPPr>
          <a:defRPr sz="25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2020-SBM-Offshore-Template1.potx" id="{37DB5797-93A7-4716-B274-303EB599D126}" vid="{7D566E41-8C9E-426F-9C41-7F296529EE40}"/>
    </a:ext>
  </a:extLst>
</a:theme>
</file>

<file path=ppt/theme/theme3.xml><?xml version="1.0" encoding="utf-8"?>
<a:theme xmlns:a="http://schemas.openxmlformats.org/drawingml/2006/main" name="Thème1">
  <a:themeElements>
    <a:clrScheme name="2023 SBM Offshore">
      <a:dk1>
        <a:srgbClr val="6F6F6F"/>
      </a:dk1>
      <a:lt1>
        <a:srgbClr val="FFFFFF"/>
      </a:lt1>
      <a:dk2>
        <a:srgbClr val="175499"/>
      </a:dk2>
      <a:lt2>
        <a:srgbClr val="1B1B1B"/>
      </a:lt2>
      <a:accent1>
        <a:srgbClr val="F56E23"/>
      </a:accent1>
      <a:accent2>
        <a:srgbClr val="FFBE3B"/>
      </a:accent2>
      <a:accent3>
        <a:srgbClr val="00A1FF"/>
      </a:accent3>
      <a:accent4>
        <a:srgbClr val="73B505"/>
      </a:accent4>
      <a:accent5>
        <a:srgbClr val="8054AB"/>
      </a:accent5>
      <a:accent6>
        <a:srgbClr val="0D3159"/>
      </a:accent6>
      <a:hlink>
        <a:srgbClr val="EB6508"/>
      </a:hlink>
      <a:folHlink>
        <a:srgbClr val="17549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>
          <a:solidFill>
            <a:srgbClr val="C7C8C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400" dirty="0" smtClean="0">
            <a:solidFill>
              <a:srgbClr val="646363"/>
            </a:solidFill>
            <a:latin typeface="Avenir Light" panose="020B0402020203020204" pitchFamily="34" charset="7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hème1" id="{2540117B-74FB-4162-9A23-50299624D861}" vid="{4558352C-5A20-47A0-947A-39FE506521FC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Picture" ma:contentTypeID="0x01010200489647B416FD8B4AAFB859E4B92C782D" ma:contentTypeVersion="12" ma:contentTypeDescription="Upload an image or a photograph." ma:contentTypeScope="" ma:versionID="592c54b91ec2860b1c3515b4c8cc3668">
  <xsd:schema xmlns:xsd="http://www.w3.org/2001/XMLSchema" xmlns:xs="http://www.w3.org/2001/XMLSchema" xmlns:p="http://schemas.microsoft.com/office/2006/metadata/properties" xmlns:ns1="http://schemas.microsoft.com/sharepoint/v3" xmlns:ns2="3890e898-5024-430c-8283-b96479a78ed3" xmlns:ns3="e11c9517-eb97-4294-b2af-738d249ad2f8" targetNamespace="http://schemas.microsoft.com/office/2006/metadata/properties" ma:root="true" ma:fieldsID="45152a2afc44dbda8736755e20059d83" ns1:_="" ns2:_="" ns3:_="">
    <xsd:import namespace="http://schemas.microsoft.com/sharepoint/v3"/>
    <xsd:import namespace="3890e898-5024-430c-8283-b96479a78ed3"/>
    <xsd:import namespace="e11c9517-eb97-4294-b2af-738d249ad2f8"/>
    <xsd:element name="properties">
      <xsd:complexType>
        <xsd:sequence>
          <xsd:element name="documentManagement">
            <xsd:complexType>
              <xsd:all>
                <xsd:element ref="ns1:ImageWidth" minOccurs="0"/>
                <xsd:element ref="ns1:ImageHeight" minOccurs="0"/>
                <xsd:element ref="ns1:ImageCreateDate" minOccurs="0"/>
                <xsd:element ref="ns1:Description" minOccurs="0"/>
                <xsd:element ref="ns1:ThumbnailExists" minOccurs="0"/>
                <xsd:element ref="ns1:PreviewExists" minOccurs="0"/>
                <xsd:element ref="ns1:AlternateThumbnailUrl" minOccurs="0"/>
                <xsd:element ref="ns2:e968ce22f2c94166ba80256b83399a86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ImageWidth" ma:index="11" nillable="true" ma:displayName="Picture Width" ma:internalName="ImageWidth" ma:readOnly="true">
      <xsd:simpleType>
        <xsd:restriction base="dms:Unknown"/>
      </xsd:simpleType>
    </xsd:element>
    <xsd:element name="ImageHeight" ma:index="12" nillable="true" ma:displayName="Picture Height" ma:internalName="ImageHeight" ma:readOnly="true">
      <xsd:simpleType>
        <xsd:restriction base="dms:Unknown"/>
      </xsd:simpleType>
    </xsd:element>
    <xsd:element name="ImageCreateDate" ma:index="13" nillable="true" ma:displayName="Date Picture Taken" ma:format="DateTime" ma:hidden="true" ma:internalName="ImageCreateDate">
      <xsd:simpleType>
        <xsd:restriction base="dms:DateTime"/>
      </xsd:simpleType>
    </xsd:element>
    <xsd:element name="Description" ma:index="14" nillable="true" ma:displayName="Description" ma:description="Used as alternative text for the picture." ma:hidden="true" ma:internalName="Description">
      <xsd:simpleType>
        <xsd:restriction base="dms:Note">
          <xsd:maxLength value="255"/>
        </xsd:restriction>
      </xsd:simpleType>
    </xsd:element>
    <xsd:element name="ThumbnailExists" ma:index="23" nillable="true" ma:displayName="Thumbnail Exists" ma:default="FALSE" ma:hidden="true" ma:internalName="ThumbnailExists" ma:readOnly="true">
      <xsd:simpleType>
        <xsd:restriction base="dms:Boolean"/>
      </xsd:simpleType>
    </xsd:element>
    <xsd:element name="PreviewExists" ma:index="24" nillable="true" ma:displayName="Preview Exists" ma:default="FALSE" ma:hidden="true" ma:internalName="PreviewExists" ma:readOnly="true">
      <xsd:simpleType>
        <xsd:restriction base="dms:Boolean"/>
      </xsd:simpleType>
    </xsd:element>
    <xsd:element name="AlternateThumbnailUrl" ma:index="25" nillable="true" ma:displayName="Preview Image URL" ma:format="Image" ma:hidden="true" ma:internalName="AlternateThumbnailUrl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890e898-5024-430c-8283-b96479a78ed3" elementFormDefault="qualified">
    <xsd:import namespace="http://schemas.microsoft.com/office/2006/documentManagement/types"/>
    <xsd:import namespace="http://schemas.microsoft.com/office/infopath/2007/PartnerControls"/>
    <xsd:element name="e968ce22f2c94166ba80256b83399a86" ma:index="27" nillable="true" ma:taxonomy="true" ma:internalName="e968ce22f2c94166ba80256b83399a86" ma:taxonomyFieldName="SBMPicturesTag" ma:displayName="Document Tag" ma:readOnly="false" ma:default="" ma:fieldId="{e968ce22-f2c9-4166-ba80-256b83399a86}" ma:taxonomyMulti="true" ma:sspId="3f3e101e-6283-46f3-9626-2565c401af6c" ma:termSetId="38341435-5a93-4334-aad9-be885907e4c2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1c9517-eb97-4294-b2af-738d249ad2f8" elementFormDefault="qualified">
    <xsd:import namespace="http://schemas.microsoft.com/office/2006/documentManagement/types"/>
    <xsd:import namespace="http://schemas.microsoft.com/office/infopath/2007/PartnerControls"/>
    <xsd:element name="TaxCatchAll" ma:index="28" nillable="true" ma:displayName="Taxonomy Catch All Column" ma:hidden="true" ma:list="{190fa341-b6b1-482c-bd97-7e4b55416ee6}" ma:internalName="TaxCatchAll" ma:showField="CatchAllData" ma:web="e11c9517-eb97-4294-b2af-738d249ad2f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8" ma:displayName="Title"/>
        <xsd:element ref="dc:subject" minOccurs="0" maxOccurs="1"/>
        <xsd:element ref="dc:description" minOccurs="0" maxOccurs="1"/>
        <xsd:element name="keywords" minOccurs="0" maxOccurs="1" type="xsd:string" ma:index="20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lternateThumbnailUrl xmlns="http://schemas.microsoft.com/sharepoint/v3">
      <Url xsi:nil="true"/>
      <Description xsi:nil="true"/>
    </AlternateThumbnailUrl>
    <e968ce22f2c94166ba80256b83399a86 xmlns="3890e898-5024-430c-8283-b96479a78ed3">
      <Terms xmlns="http://schemas.microsoft.com/office/infopath/2007/PartnerControls"/>
    </e968ce22f2c94166ba80256b83399a86>
    <TaxCatchAll xmlns="e11c9517-eb97-4294-b2af-738d249ad2f8"/>
    <ImageCreateDate xmlns="http://schemas.microsoft.com/sharepoint/v3" xsi:nil="true"/>
    <Description xmlns="http://schemas.microsoft.com/sharepoint/v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770B910-91AC-4A68-A960-20262ED1E9E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3890e898-5024-430c-8283-b96479a78ed3"/>
    <ds:schemaRef ds:uri="e11c9517-eb97-4294-b2af-738d249ad2f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990AB1A-9C54-4E61-8230-5FB687F4F6F4}">
  <ds:schemaRefs>
    <ds:schemaRef ds:uri="http://purl.org/dc/elements/1.1/"/>
    <ds:schemaRef ds:uri="e11c9517-eb97-4294-b2af-738d249ad2f8"/>
    <ds:schemaRef ds:uri="http://schemas.microsoft.com/office/2006/documentManagement/types"/>
    <ds:schemaRef ds:uri="http://purl.org/dc/terms/"/>
    <ds:schemaRef ds:uri="http://purl.org/dc/dcmitype/"/>
    <ds:schemaRef ds:uri="3890e898-5024-430c-8283-b96479a78ed3"/>
    <ds:schemaRef ds:uri="http://schemas.microsoft.com/office/infopath/2007/PartnerControls"/>
    <ds:schemaRef ds:uri="http://schemas.openxmlformats.org/package/2006/metadata/core-properties"/>
    <ds:schemaRef ds:uri="http://schemas.microsoft.com/sharepoint/v3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FD16EDA3-F8F1-4A42-A8A9-CC341F18FDC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1670</TotalTime>
  <Words>233</Words>
  <Application>Microsoft Office PowerPoint</Application>
  <PresentationFormat>Widescreen</PresentationFormat>
  <Paragraphs>33</Paragraphs>
  <Slides>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1" baseType="lpstr">
      <vt:lpstr>Arial</vt:lpstr>
      <vt:lpstr>Avenir Light</vt:lpstr>
      <vt:lpstr>Calibri</vt:lpstr>
      <vt:lpstr>2_Custom Design</vt:lpstr>
      <vt:lpstr>Custom Design</vt:lpstr>
      <vt:lpstr>Thème1</vt:lpstr>
      <vt:lpstr>think-cell Slide</vt:lpstr>
      <vt:lpstr>Appendix 1 - Overview of Taxes – SBM Offshore Global Presence</vt:lpstr>
      <vt:lpstr>Overview of Taxes – 2023 Current Tax Liabilities (IFRS)</vt:lpstr>
      <vt:lpstr>Top 10 Tax Contributions by Jurisdiction in 2023 (in millions US$) – IFRS </vt:lpstr>
      <vt:lpstr>PowerPoint Presentation</vt:lpstr>
    </vt:vector>
  </TitlesOfParts>
  <Company>SBM Offshor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laring – Improvements &amp; Challenges</dc:title>
  <dc:creator>Nilsen, Sander</dc:creator>
  <cp:lastModifiedBy>Baffreau, Philippe</cp:lastModifiedBy>
  <cp:revision>255</cp:revision>
  <cp:lastPrinted>2023-06-15T15:29:52Z</cp:lastPrinted>
  <dcterms:created xsi:type="dcterms:W3CDTF">2021-02-09T09:18:46Z</dcterms:created>
  <dcterms:modified xsi:type="dcterms:W3CDTF">2025-02-25T18:06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200489647B416FD8B4AAFB859E4B92C782D</vt:lpwstr>
  </property>
</Properties>
</file>